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4.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heme/themeOverride5.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heme/themeOverride6.xml" ContentType="application/vnd.openxmlformats-officedocument.themeOverride+xml"/>
  <Override PartName="/ppt/tags/tag10.xml" ContentType="application/vnd.openxmlformats-officedocument.presentationml.tags+xml"/>
  <Override PartName="/ppt/tags/tag11.xml" ContentType="application/vnd.openxmlformats-officedocument.presentationml.tags+xml"/>
  <Override PartName="/ppt/theme/themeOverride7.xml" ContentType="application/vnd.openxmlformats-officedocument.themeOverr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0"/>
  </p:notesMasterIdLst>
  <p:handoutMasterIdLst>
    <p:handoutMasterId r:id="rId21"/>
  </p:handoutMasterIdLst>
  <p:sldIdLst>
    <p:sldId id="256" r:id="rId2"/>
    <p:sldId id="269" r:id="rId3"/>
    <p:sldId id="258" r:id="rId4"/>
    <p:sldId id="270" r:id="rId5"/>
    <p:sldId id="278" r:id="rId6"/>
    <p:sldId id="279" r:id="rId7"/>
    <p:sldId id="280" r:id="rId8"/>
    <p:sldId id="281" r:id="rId9"/>
    <p:sldId id="282" r:id="rId10"/>
    <p:sldId id="283" r:id="rId11"/>
    <p:sldId id="261" r:id="rId12"/>
    <p:sldId id="271" r:id="rId13"/>
    <p:sldId id="272" r:id="rId14"/>
    <p:sldId id="273" r:id="rId15"/>
    <p:sldId id="274" r:id="rId16"/>
    <p:sldId id="275" r:id="rId17"/>
    <p:sldId id="276" r:id="rId18"/>
    <p:sldId id="277" r:id="rId19"/>
  </p:sldIdLst>
  <p:sldSz cx="12192000" cy="6858000"/>
  <p:notesSz cx="6858000" cy="9144000"/>
  <p:custDataLst>
    <p:tags r:id="rId2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5D47"/>
    <a:srgbClr val="210408"/>
    <a:srgbClr val="EC0106"/>
    <a:srgbClr val="B03632"/>
    <a:srgbClr val="A20000"/>
    <a:srgbClr val="A40000"/>
    <a:srgbClr val="9E0000"/>
    <a:srgbClr val="C7450B"/>
    <a:srgbClr val="E24E0C"/>
    <a:srgbClr val="DC61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689" autoAdjust="0"/>
    <p:restoredTop sz="96182" autoAdjust="0"/>
  </p:normalViewPr>
  <p:slideViewPr>
    <p:cSldViewPr snapToGrid="0">
      <p:cViewPr>
        <p:scale>
          <a:sx n="100" d="100"/>
          <a:sy n="100" d="100"/>
        </p:scale>
        <p:origin x="204" y="378"/>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xmlns=""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xmlns=""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0/31</a:t>
            </a:fld>
            <a:endParaRPr lang="zh-CN" altLang="en-US"/>
          </a:p>
        </p:txBody>
      </p:sp>
      <p:sp>
        <p:nvSpPr>
          <p:cNvPr id="4" name="页脚占位符 3">
            <a:extLst>
              <a:ext uri="{FF2B5EF4-FFF2-40B4-BE49-F238E27FC236}">
                <a16:creationId xmlns:a16="http://schemas.microsoft.com/office/drawing/2014/main" xmlns=""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xmlns=""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0/3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xmlns:p14="http://schemas.microsoft.com/office/powerpoint/2010/main" xmlns:a14="http://schemas.microsoft.com/office/drawing/2010/main" xmlns="" id="{B17E6D21-F120-4919-9EFA-F925BD0C1809}"/>
              </a:ext>
            </a:extLst>
          </p:cNvPr>
          <p:cNvGrpSpPr/>
          <p:nvPr userDrawn="1"/>
        </p:nvGrpSpPr>
        <p:grpSpPr>
          <a:xfrm>
            <a:off x="695960" y="-2842043"/>
            <a:ext cx="10824528" cy="9458350"/>
            <a:chOff x="695960" y="-2842043"/>
            <a:chExt cx="10824528" cy="9458350"/>
          </a:xfrm>
        </p:grpSpPr>
        <p:sp>
          <p:nvSpPr>
            <p:cNvPr id="16" name="Freeform 13">
              <a:extLst>
                <a:ext uri="{FF2B5EF4-FFF2-40B4-BE49-F238E27FC236}">
                  <a16:creationId xmlns:a16="http://schemas.microsoft.com/office/drawing/2014/main" xmlns:p14="http://schemas.microsoft.com/office/powerpoint/2010/main" xmlns:a14="http://schemas.microsoft.com/office/drawing/2010/main" xmlns="" id="{A3C2E16E-7F12-4E00-BE31-42B9F3572256}"/>
                </a:ext>
              </a:extLst>
            </p:cNvPr>
            <p:cNvSpPr>
              <a:spLocks/>
            </p:cNvSpPr>
            <p:nvPr userDrawn="1"/>
          </p:nvSpPr>
          <p:spPr bwMode="auto">
            <a:xfrm flipH="1">
              <a:off x="3509055" y="-2842043"/>
              <a:ext cx="8011433" cy="9231959"/>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blipFill>
              <a:blip r:embed="rId2"/>
              <a:srcRect/>
              <a:stretch>
                <a:fillRect l="-36484" r="-36368"/>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 name="Freeform 13">
              <a:extLst>
                <a:ext uri="{FF2B5EF4-FFF2-40B4-BE49-F238E27FC236}">
                  <a16:creationId xmlns:a16="http://schemas.microsoft.com/office/drawing/2014/main" xmlns:p14="http://schemas.microsoft.com/office/powerpoint/2010/main" xmlns:a14="http://schemas.microsoft.com/office/drawing/2010/main" xmlns="" id="{51488BE8-69EC-4A9A-8369-E63E8941B4D1}"/>
                </a:ext>
              </a:extLst>
            </p:cNvPr>
            <p:cNvSpPr>
              <a:spLocks/>
            </p:cNvSpPr>
            <p:nvPr userDrawn="1"/>
          </p:nvSpPr>
          <p:spPr bwMode="auto">
            <a:xfrm>
              <a:off x="695960" y="241693"/>
              <a:ext cx="5119690" cy="5899664"/>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solidFill>
              <a:srgbClr val="CE5D47"/>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 name="Freeform 17">
              <a:extLst>
                <a:ext uri="{FF2B5EF4-FFF2-40B4-BE49-F238E27FC236}">
                  <a16:creationId xmlns:a16="http://schemas.microsoft.com/office/drawing/2014/main" xmlns:p14="http://schemas.microsoft.com/office/powerpoint/2010/main" xmlns:a14="http://schemas.microsoft.com/office/drawing/2010/main" xmlns="" id="{52B0F295-D75B-467D-B253-DA283681346B}"/>
                </a:ext>
              </a:extLst>
            </p:cNvPr>
            <p:cNvSpPr>
              <a:spLocks/>
            </p:cNvSpPr>
            <p:nvPr userDrawn="1"/>
          </p:nvSpPr>
          <p:spPr bwMode="auto">
            <a:xfrm>
              <a:off x="3540623" y="4318218"/>
              <a:ext cx="7955416" cy="2298089"/>
            </a:xfrm>
            <a:custGeom>
              <a:avLst/>
              <a:gdLst>
                <a:gd name="T0" fmla="*/ 0 w 4978"/>
                <a:gd name="T1" fmla="*/ 0 h 1438"/>
                <a:gd name="T2" fmla="*/ 2489 w 4978"/>
                <a:gd name="T3" fmla="*/ 1438 h 1438"/>
                <a:gd name="T4" fmla="*/ 4978 w 4978"/>
                <a:gd name="T5" fmla="*/ 0 h 1438"/>
              </a:gdLst>
              <a:ahLst/>
              <a:cxnLst>
                <a:cxn ang="0">
                  <a:pos x="T0" y="T1"/>
                </a:cxn>
                <a:cxn ang="0">
                  <a:pos x="T2" y="T3"/>
                </a:cxn>
                <a:cxn ang="0">
                  <a:pos x="T4" y="T5"/>
                </a:cxn>
              </a:cxnLst>
              <a:rect l="0" t="0" r="r" b="b"/>
              <a:pathLst>
                <a:path w="4978" h="1438">
                  <a:moveTo>
                    <a:pt x="0" y="0"/>
                  </a:moveTo>
                  <a:lnTo>
                    <a:pt x="2489" y="1438"/>
                  </a:lnTo>
                  <a:lnTo>
                    <a:pt x="4978" y="0"/>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9801" name="副标题 2"/>
          <p:cNvSpPr>
            <a:spLocks noGrp="1"/>
          </p:cNvSpPr>
          <p:nvPr userDrawn="1">
            <p:ph type="subTitle" idx="1" hasCustomPrompt="1"/>
          </p:nvPr>
        </p:nvSpPr>
        <p:spPr>
          <a:xfrm>
            <a:off x="3823854" y="5578476"/>
            <a:ext cx="7672186" cy="558799"/>
          </a:xfrm>
        </p:spPr>
        <p:txBody>
          <a:bodyPr anchor="t">
            <a:normAutofit/>
          </a:bodyPr>
          <a:lstStyle>
            <a:lvl1pPr marL="0" indent="0" algn="r">
              <a:buNone/>
              <a:defRPr sz="1600">
                <a:solidFill>
                  <a:schemeClr val="accent3"/>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hasCustomPrompt="1"/>
          </p:nvPr>
        </p:nvSpPr>
        <p:spPr>
          <a:xfrm>
            <a:off x="949209" y="1130300"/>
            <a:ext cx="6693016" cy="3183836"/>
          </a:xfrm>
        </p:spPr>
        <p:txBody>
          <a:bodyPr anchor="b">
            <a:normAutofit/>
          </a:bodyPr>
          <a:lstStyle>
            <a:lvl1pPr algn="l">
              <a:defRPr sz="4000">
                <a:solidFill>
                  <a:schemeClr val="bg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673100" y="5544733"/>
            <a:ext cx="2867524"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73100" y="5841004"/>
            <a:ext cx="2867524"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4" name="Freeform 13">
            <a:extLst>
              <a:ext uri="{FF2B5EF4-FFF2-40B4-BE49-F238E27FC236}">
                <a16:creationId xmlns:a16="http://schemas.microsoft.com/office/drawing/2014/main" xmlns:p14="http://schemas.microsoft.com/office/powerpoint/2010/main" xmlns="" id="{6E0A0000-C9EC-41F9-9457-6F2EC527F0AC}"/>
              </a:ext>
            </a:extLst>
          </p:cNvPr>
          <p:cNvSpPr>
            <a:spLocks/>
          </p:cNvSpPr>
          <p:nvPr userDrawn="1"/>
        </p:nvSpPr>
        <p:spPr bwMode="auto">
          <a:xfrm>
            <a:off x="695960" y="479168"/>
            <a:ext cx="5119690" cy="5899664"/>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solidFill>
            <a:srgbClr val="CE5D47"/>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 name="标题 1"/>
          <p:cNvSpPr>
            <a:spLocks noGrp="1"/>
          </p:cNvSpPr>
          <p:nvPr userDrawn="1">
            <p:ph type="title"/>
          </p:nvPr>
        </p:nvSpPr>
        <p:spPr>
          <a:xfrm>
            <a:off x="6098599" y="2657929"/>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6099715" y="3553279"/>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xmlns:p14="http://schemas.microsoft.com/office/powerpoint/2010/main" xmlns=""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xmlns:p14="http://schemas.microsoft.com/office/powerpoint/2010/main" xmlns=""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xmlns:p14="http://schemas.microsoft.com/office/powerpoint/2010/main" xmlns=""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xmlns:p14="http://schemas.microsoft.com/office/powerpoint/2010/main" xmlns=""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xmlns:p14="http://schemas.microsoft.com/office/powerpoint/2010/main" xmlns=""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xmlns="" id="{8986EA5F-D77D-4318-90E9-C04AA8ADC0D1}"/>
              </a:ext>
            </a:extLst>
          </p:cNvPr>
          <p:cNvSpPr>
            <a:spLocks noGrp="1"/>
          </p:cNvSpPr>
          <p:nvPr>
            <p:ph type="dt" sz="half" idx="10"/>
          </p:nvPr>
        </p:nvSpPr>
        <p:spPr/>
        <p:txBody>
          <a:bodyPr/>
          <a:lstStyle/>
          <a:p>
            <a:endParaRPr lang="zh-CN" altLang="en-US"/>
          </a:p>
        </p:txBody>
      </p:sp>
      <p:sp>
        <p:nvSpPr>
          <p:cNvPr id="4" name="Footer Placeholder 3">
            <a:extLst>
              <a:ext uri="{FF2B5EF4-FFF2-40B4-BE49-F238E27FC236}">
                <a16:creationId xmlns:a16="http://schemas.microsoft.com/office/drawing/2014/main" xmlns=""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a:extLst>
              <a:ext uri="{FF2B5EF4-FFF2-40B4-BE49-F238E27FC236}">
                <a16:creationId xmlns:a16="http://schemas.microsoft.com/office/drawing/2014/main" xmlns=""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5" name="组合 4">
            <a:extLst>
              <a:ext uri="{FF2B5EF4-FFF2-40B4-BE49-F238E27FC236}">
                <a16:creationId xmlns:a16="http://schemas.microsoft.com/office/drawing/2014/main" xmlns:p14="http://schemas.microsoft.com/office/powerpoint/2010/main" xmlns:a14="http://schemas.microsoft.com/office/drawing/2010/main" xmlns="" id="{99391505-0ED0-4506-936F-52505EF1686C}"/>
              </a:ext>
            </a:extLst>
          </p:cNvPr>
          <p:cNvGrpSpPr/>
          <p:nvPr userDrawn="1"/>
        </p:nvGrpSpPr>
        <p:grpSpPr>
          <a:xfrm flipH="1">
            <a:off x="695960" y="-2842043"/>
            <a:ext cx="10824528" cy="9458350"/>
            <a:chOff x="695960" y="-2842043"/>
            <a:chExt cx="10824528" cy="9458350"/>
          </a:xfrm>
        </p:grpSpPr>
        <p:sp>
          <p:nvSpPr>
            <p:cNvPr id="7" name="Freeform 13">
              <a:extLst>
                <a:ext uri="{FF2B5EF4-FFF2-40B4-BE49-F238E27FC236}">
                  <a16:creationId xmlns:a16="http://schemas.microsoft.com/office/drawing/2014/main" xmlns:p14="http://schemas.microsoft.com/office/powerpoint/2010/main" xmlns:a14="http://schemas.microsoft.com/office/drawing/2010/main" xmlns="" id="{FC465888-34E2-4A7E-80D2-92BBD9280BD9}"/>
                </a:ext>
              </a:extLst>
            </p:cNvPr>
            <p:cNvSpPr>
              <a:spLocks/>
            </p:cNvSpPr>
            <p:nvPr userDrawn="1"/>
          </p:nvSpPr>
          <p:spPr bwMode="auto">
            <a:xfrm flipH="1">
              <a:off x="3509055" y="-2842043"/>
              <a:ext cx="8011433" cy="9231959"/>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blipFill>
              <a:blip r:embed="rId2"/>
              <a:srcRect/>
              <a:stretch>
                <a:fillRect l="-36484" r="-36368"/>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 name="Freeform 13">
              <a:extLst>
                <a:ext uri="{FF2B5EF4-FFF2-40B4-BE49-F238E27FC236}">
                  <a16:creationId xmlns:a16="http://schemas.microsoft.com/office/drawing/2014/main" xmlns:p14="http://schemas.microsoft.com/office/powerpoint/2010/main" xmlns:a14="http://schemas.microsoft.com/office/drawing/2010/main" xmlns="" id="{549CC44A-F314-499E-846A-FB8F04ED3E0C}"/>
                </a:ext>
              </a:extLst>
            </p:cNvPr>
            <p:cNvSpPr>
              <a:spLocks/>
            </p:cNvSpPr>
            <p:nvPr userDrawn="1"/>
          </p:nvSpPr>
          <p:spPr bwMode="auto">
            <a:xfrm>
              <a:off x="695960" y="241693"/>
              <a:ext cx="5119690" cy="5899664"/>
            </a:xfrm>
            <a:custGeom>
              <a:avLst/>
              <a:gdLst>
                <a:gd name="T0" fmla="*/ 1874 w 3748"/>
                <a:gd name="T1" fmla="*/ 0 h 4319"/>
                <a:gd name="T2" fmla="*/ 0 w 3748"/>
                <a:gd name="T3" fmla="*/ 1079 h 4319"/>
                <a:gd name="T4" fmla="*/ 0 w 3748"/>
                <a:gd name="T5" fmla="*/ 3240 h 4319"/>
                <a:gd name="T6" fmla="*/ 1874 w 3748"/>
                <a:gd name="T7" fmla="*/ 4319 h 4319"/>
                <a:gd name="T8" fmla="*/ 3748 w 3748"/>
                <a:gd name="T9" fmla="*/ 3240 h 4319"/>
                <a:gd name="T10" fmla="*/ 3748 w 3748"/>
                <a:gd name="T11" fmla="*/ 1079 h 4319"/>
                <a:gd name="T12" fmla="*/ 1874 w 3748"/>
                <a:gd name="T13" fmla="*/ 0 h 4319"/>
              </a:gdLst>
              <a:ahLst/>
              <a:cxnLst>
                <a:cxn ang="0">
                  <a:pos x="T0" y="T1"/>
                </a:cxn>
                <a:cxn ang="0">
                  <a:pos x="T2" y="T3"/>
                </a:cxn>
                <a:cxn ang="0">
                  <a:pos x="T4" y="T5"/>
                </a:cxn>
                <a:cxn ang="0">
                  <a:pos x="T6" y="T7"/>
                </a:cxn>
                <a:cxn ang="0">
                  <a:pos x="T8" y="T9"/>
                </a:cxn>
                <a:cxn ang="0">
                  <a:pos x="T10" y="T11"/>
                </a:cxn>
                <a:cxn ang="0">
                  <a:pos x="T12" y="T13"/>
                </a:cxn>
              </a:cxnLst>
              <a:rect l="0" t="0" r="r" b="b"/>
              <a:pathLst>
                <a:path w="3748" h="4319">
                  <a:moveTo>
                    <a:pt x="1874" y="0"/>
                  </a:moveTo>
                  <a:lnTo>
                    <a:pt x="0" y="1079"/>
                  </a:lnTo>
                  <a:lnTo>
                    <a:pt x="0" y="3240"/>
                  </a:lnTo>
                  <a:lnTo>
                    <a:pt x="1874" y="4319"/>
                  </a:lnTo>
                  <a:lnTo>
                    <a:pt x="3748" y="3240"/>
                  </a:lnTo>
                  <a:lnTo>
                    <a:pt x="3748" y="1079"/>
                  </a:lnTo>
                  <a:lnTo>
                    <a:pt x="1874" y="0"/>
                  </a:lnTo>
                  <a:close/>
                </a:path>
              </a:pathLst>
            </a:custGeom>
            <a:solidFill>
              <a:srgbClr val="CE5D47"/>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 name="Freeform 17">
              <a:extLst>
                <a:ext uri="{FF2B5EF4-FFF2-40B4-BE49-F238E27FC236}">
                  <a16:creationId xmlns:a16="http://schemas.microsoft.com/office/drawing/2014/main" xmlns:p14="http://schemas.microsoft.com/office/powerpoint/2010/main" xmlns:a14="http://schemas.microsoft.com/office/drawing/2010/main" xmlns="" id="{9FC0C4B5-6A75-4A11-962E-91FE2C70F846}"/>
                </a:ext>
              </a:extLst>
            </p:cNvPr>
            <p:cNvSpPr>
              <a:spLocks/>
            </p:cNvSpPr>
            <p:nvPr userDrawn="1"/>
          </p:nvSpPr>
          <p:spPr bwMode="auto">
            <a:xfrm>
              <a:off x="3540623" y="4318218"/>
              <a:ext cx="7955416" cy="2298089"/>
            </a:xfrm>
            <a:custGeom>
              <a:avLst/>
              <a:gdLst>
                <a:gd name="T0" fmla="*/ 0 w 4978"/>
                <a:gd name="T1" fmla="*/ 0 h 1438"/>
                <a:gd name="T2" fmla="*/ 2489 w 4978"/>
                <a:gd name="T3" fmla="*/ 1438 h 1438"/>
                <a:gd name="T4" fmla="*/ 4978 w 4978"/>
                <a:gd name="T5" fmla="*/ 0 h 1438"/>
              </a:gdLst>
              <a:ahLst/>
              <a:cxnLst>
                <a:cxn ang="0">
                  <a:pos x="T0" y="T1"/>
                </a:cxn>
                <a:cxn ang="0">
                  <a:pos x="T2" y="T3"/>
                </a:cxn>
                <a:cxn ang="0">
                  <a:pos x="T4" y="T5"/>
                </a:cxn>
              </a:cxnLst>
              <a:rect l="0" t="0" r="r" b="b"/>
              <a:pathLst>
                <a:path w="4978" h="1438">
                  <a:moveTo>
                    <a:pt x="0" y="0"/>
                  </a:moveTo>
                  <a:lnTo>
                    <a:pt x="2489" y="1438"/>
                  </a:lnTo>
                  <a:lnTo>
                    <a:pt x="4978" y="0"/>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3" name="标题 1"/>
          <p:cNvSpPr>
            <a:spLocks noGrp="1"/>
          </p:cNvSpPr>
          <p:nvPr userDrawn="1">
            <p:ph type="ctrTitle" hasCustomPrompt="1"/>
          </p:nvPr>
        </p:nvSpPr>
        <p:spPr>
          <a:xfrm>
            <a:off x="6096000" y="1135064"/>
            <a:ext cx="5119690" cy="3183154"/>
          </a:xfrm>
        </p:spPr>
        <p:txBody>
          <a:bodyPr anchor="b">
            <a:normAutofit/>
          </a:bodyPr>
          <a:lstStyle>
            <a:lvl1pPr marL="0" indent="0" algn="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399208" y="5836134"/>
            <a:ext cx="5119690" cy="297966"/>
          </a:xfrm>
        </p:spPr>
        <p:txBody>
          <a:bodyPr vert="horz" lIns="91440" tIns="45720" rIns="91440" bIns="45720" rtlCol="0">
            <a:normAutofit/>
          </a:bodyPr>
          <a:lstStyle>
            <a:lvl1pPr marL="0" indent="0" algn="r">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xmlns:p14="http://schemas.microsoft.com/office/powerpoint/2010/main" xmlns:a14="http://schemas.microsoft.com/office/drawing/2010/main" xmlns="" id="{05EBDA4F-7210-4CAE-8333-80DB24212E78}"/>
              </a:ext>
            </a:extLst>
          </p:cNvPr>
          <p:cNvSpPr>
            <a:spLocks noGrp="1"/>
          </p:cNvSpPr>
          <p:nvPr>
            <p:ph type="body" sz="quarter" idx="10" hasCustomPrompt="1"/>
          </p:nvPr>
        </p:nvSpPr>
        <p:spPr>
          <a:xfrm>
            <a:off x="6399210" y="5539863"/>
            <a:ext cx="5119690" cy="283972"/>
          </a:xfrm>
        </p:spPr>
        <p:txBody>
          <a:bodyPr vert="horz" anchor="ctr">
            <a:noAutofit/>
          </a:bodyPr>
          <a:lstStyle>
            <a:lvl1pPr marL="0" indent="0" algn="r">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xmlns:p15="http://schemas.microsoft.com/office/powerpoint/2012/main" xmlns:p14="http://schemas.microsoft.com/office/powerpoint/2010/main" xmlns=""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4">
            <a:extLst>
              <a:ext uri="{FF2B5EF4-FFF2-40B4-BE49-F238E27FC236}">
                <a16:creationId xmlns:a16="http://schemas.microsoft.com/office/drawing/2014/main" xmlns:p15="http://schemas.microsoft.com/office/powerpoint/2012/main" xmlns:p14="http://schemas.microsoft.com/office/powerpoint/2010/main" xmlns=""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a:extLst>
              <a:ext uri="{FF2B5EF4-FFF2-40B4-BE49-F238E27FC236}">
                <a16:creationId xmlns:a16="http://schemas.microsoft.com/office/drawing/2014/main" xmlns:p15="http://schemas.microsoft.com/office/powerpoint/2012/main" xmlns:p14="http://schemas.microsoft.com/office/powerpoint/2010/main" xmlns=""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p14="http://schemas.microsoft.com/office/powerpoint/2010/main" xmlns:a16="http://schemas.microsoft.com/office/drawing/2014/main" xmlns="">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1.xml"/></Relationships>
</file>

<file path=ppt/slides/_rels/slide11.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vmlDrawing" Target="../drawings/vmlDrawing2.vml"/><Relationship Id="rId1" Type="http://schemas.openxmlformats.org/officeDocument/2006/relationships/themeOverride" Target="../theme/themeOverride7.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3.xml"/></Relationships>
</file>

<file path=ppt/slides/_rels/slide13.xml.rels><?xml version="1.0" encoding="UTF-8" standalone="yes"?>
<Relationships xmlns="http://schemas.openxmlformats.org/package/2006/relationships"><Relationship Id="rId3" Type="http://schemas.openxmlformats.org/officeDocument/2006/relationships/hyperlink" Target="http://www.islide.cc/" TargetMode="External"/><Relationship Id="rId2" Type="http://schemas.openxmlformats.org/officeDocument/2006/relationships/slideLayout" Target="../slideLayouts/slideLayout5.xml"/><Relationship Id="rId1" Type="http://schemas.openxmlformats.org/officeDocument/2006/relationships/tags" Target="../tags/tag14.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5.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6.xml"/></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5.xml"/><Relationship Id="rId1" Type="http://schemas.openxmlformats.org/officeDocument/2006/relationships/tags" Target="../tags/tag17.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5.xml"/><Relationship Id="rId1" Type="http://schemas.openxmlformats.org/officeDocument/2006/relationships/tags" Target="../tags/tag18.xml"/></Relationships>
</file>

<file path=ppt/slides/_rels/slide18.xml.rels><?xml version="1.0" encoding="UTF-8" standalone="yes"?>
<Relationships xmlns="http://schemas.openxmlformats.org/package/2006/relationships"><Relationship Id="rId3" Type="http://schemas.openxmlformats.org/officeDocument/2006/relationships/hyperlink" Target="http://www.islide.cc/" TargetMode="External"/><Relationship Id="rId2" Type="http://schemas.openxmlformats.org/officeDocument/2006/relationships/slideLayout" Target="../slideLayouts/slideLayout5.xml"/><Relationship Id="rId1" Type="http://schemas.openxmlformats.org/officeDocument/2006/relationships/tags" Target="../tags/tag19.xml"/><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4.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hemeOverride" Target="../theme/themeOverride5.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hemeOverride" Target="../theme/themeOverr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3"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xmlns:v="urn:schemas-microsoft-com:vml" xmlns:p14="http://schemas.microsoft.com/office/powerpoint/2010/main" xmlns=""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p:txBody>
          <a:bodyPr/>
          <a:lstStyle/>
          <a:p>
            <a:r>
              <a:rPr lang="zh-TW" altLang="en-US" dirty="0" smtClean="0"/>
              <a:t>深度學習</a:t>
            </a:r>
            <a:r>
              <a:rPr lang="en-US" altLang="zh-TW" dirty="0" smtClean="0"/>
              <a:t/>
            </a:r>
            <a:br>
              <a:rPr lang="en-US" altLang="zh-TW" dirty="0" smtClean="0"/>
            </a:br>
            <a:r>
              <a:rPr lang="zh-TW" altLang="en-US" dirty="0"/>
              <a:t>類神經網路介紹</a:t>
            </a:r>
            <a:endParaRPr lang="zh-CN" altLang="en-US" dirty="0"/>
          </a:p>
        </p:txBody>
      </p:sp>
      <p:sp>
        <p:nvSpPr>
          <p:cNvPr id="6" name="文本占位符 5"/>
          <p:cNvSpPr>
            <a:spLocks noGrp="1"/>
          </p:cNvSpPr>
          <p:nvPr>
            <p:ph type="body" sz="quarter" idx="10"/>
          </p:nvPr>
        </p:nvSpPr>
        <p:spPr/>
        <p:txBody>
          <a:bodyPr/>
          <a:lstStyle/>
          <a:p>
            <a:r>
              <a:rPr lang="zh-TW" altLang="en-US" dirty="0" smtClean="0">
                <a:solidFill>
                  <a:schemeClr val="accent3"/>
                </a:solidFill>
              </a:rPr>
              <a:t>王家祥</a:t>
            </a:r>
            <a:r>
              <a:rPr lang="en-US" altLang="zh-TW" dirty="0" smtClean="0">
                <a:solidFill>
                  <a:schemeClr val="accent3"/>
                </a:solidFill>
              </a:rPr>
              <a:t>	</a:t>
            </a:r>
            <a:endParaRPr lang="en-US" altLang="zh-CN" dirty="0">
              <a:solidFill>
                <a:schemeClr val="accent3"/>
              </a:solidFill>
            </a:endParaRPr>
          </a:p>
        </p:txBody>
      </p:sp>
      <p:sp>
        <p:nvSpPr>
          <p:cNvPr id="7" name="文本占位符 6"/>
          <p:cNvSpPr>
            <a:spLocks noGrp="1"/>
          </p:cNvSpPr>
          <p:nvPr>
            <p:ph type="body" sz="quarter" idx="11"/>
          </p:nvPr>
        </p:nvSpPr>
        <p:spPr/>
        <p:txBody>
          <a:bodyPr/>
          <a:lstStyle/>
          <a:p>
            <a:r>
              <a:rPr lang="en-US" altLang="zh-TW" dirty="0" smtClean="0">
                <a:solidFill>
                  <a:schemeClr val="accent3"/>
                </a:solidFill>
              </a:rPr>
              <a:t>2020-11-06</a:t>
            </a:r>
          </a:p>
        </p:txBody>
      </p:sp>
    </p:spTree>
    <p:custDataLst>
      <p:tags r:id="rId3"/>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mtClean="0"/>
              <a:t>Use </a:t>
            </a:r>
            <a:r>
              <a:rPr lang="en-US" altLang="zh-CN" sz="100" smtClean="0"/>
              <a:t> </a:t>
            </a:r>
            <a:r>
              <a:rPr lang="en-US" altLang="zh-CN" smtClean="0"/>
              <a:t>"</a:t>
            </a:r>
            <a:r>
              <a:rPr lang="en-US" altLang="zh-CN" smtClean="0"/>
              <a:t>Title Only" Layout</a:t>
            </a:r>
            <a:endParaRPr lang="zh-CN" altLang="en-US"/>
          </a:p>
        </p:txBody>
      </p:sp>
      <p:sp>
        <p:nvSpPr>
          <p:cNvPr id="3" name="页脚占位符 2"/>
          <p:cNvSpPr>
            <a:spLocks noGrp="1"/>
          </p:cNvSpPr>
          <p:nvPr>
            <p:ph type="ftr" sz="quarter" idx="11"/>
          </p:nvPr>
        </p:nvSpPr>
        <p:spPr/>
        <p:txBody>
          <a:bodyPr/>
          <a:lstStyle/>
          <a:p>
            <a:r>
              <a:rPr lang="zh-CN" altLang="en-US" smtClean="0"/>
              <a:t>请在</a:t>
            </a:r>
            <a:r>
              <a:rPr lang="zh-CN" altLang="en-US" smtClean="0"/>
              <a:t>插入</a:t>
            </a:r>
            <a:r>
              <a:rPr lang="zh-CN" altLang="en-US" sz="100" smtClean="0"/>
              <a:t> </a:t>
            </a:r>
            <a:r>
              <a:rPr lang="zh-CN" altLang="en-US" smtClean="0"/>
              <a:t>菜</a:t>
            </a:r>
            <a:r>
              <a:rPr lang="zh-CN" altLang="en-US" smtClean="0"/>
              <a:t>单</a:t>
            </a:r>
            <a:r>
              <a:rPr lang="en-US" altLang="zh-CN" smtClean="0"/>
              <a:t>—</a:t>
            </a:r>
            <a:r>
              <a:rPr lang="zh-CN" altLang="en-US" smtClean="0"/>
              <a:t>页眉和页脚中修改此文本</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0</a:t>
            </a:fld>
            <a:endParaRPr lang="zh-CN" altLang="en-US"/>
          </a:p>
        </p:txBody>
      </p:sp>
    </p:spTree>
    <p:custDataLst>
      <p:tags r:id="rId1"/>
    </p:custDataLst>
    <p:extLst>
      <p:ext uri="{BB962C8B-B14F-4D97-AF65-F5344CB8AC3E}">
        <p14:creationId xmlns:p14="http://schemas.microsoft.com/office/powerpoint/2010/main" val="3699748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1"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xmlns:v="urn:schemas-microsoft-com:vml" xmlns:p14="http://schemas.microsoft.com/office/powerpoint/2010/main" xmlns=""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sz="10000" smtClean="0">
                <a:solidFill>
                  <a:schemeClr val="accent2">
                    <a:lumMod val="50000"/>
                  </a:schemeClr>
                </a:solidFill>
              </a:rPr>
              <a:t>Thank</a:t>
            </a:r>
            <a:r>
              <a:rPr lang="en-US" altLang="zh-CN" sz="100" smtClean="0">
                <a:solidFill>
                  <a:schemeClr val="accent2">
                    <a:lumMod val="50000"/>
                  </a:schemeClr>
                </a:solidFill>
              </a:rPr>
              <a:t> </a:t>
            </a:r>
            <a:r>
              <a:rPr lang="en-US" altLang="zh-CN" sz="10000" smtClean="0">
                <a:solidFill>
                  <a:schemeClr val="accent2">
                    <a:lumMod val="50000"/>
                  </a:schemeClr>
                </a:solidFill>
              </a:rPr>
              <a:t>s</a:t>
            </a:r>
            <a:r>
              <a:rPr lang="en-US" altLang="zh-CN" dirty="0">
                <a:solidFill>
                  <a:schemeClr val="accent2">
                    <a:lumMod val="50000"/>
                  </a:schemeClr>
                </a:solidFill>
              </a:rPr>
              <a:t/>
            </a:r>
            <a:br>
              <a:rPr lang="en-US" altLang="zh-CN" dirty="0">
                <a:solidFill>
                  <a:schemeClr val="accent2">
                    <a:lumMod val="50000"/>
                  </a:schemeClr>
                </a:solidFill>
              </a:rPr>
            </a:br>
            <a:r>
              <a:rPr lang="en-US" altLang="zh-CN" dirty="0">
                <a:solidFill>
                  <a:schemeClr val="accent2">
                    <a:lumMod val="50000"/>
                  </a:schemeClr>
                </a:solidFill>
              </a:rPr>
              <a:t>And Your Slogan Here</a:t>
            </a:r>
            <a:endParaRPr lang="zh-CN" altLang="en-US" dirty="0">
              <a:solidFill>
                <a:schemeClr val="accent2">
                  <a:lumMod val="50000"/>
                </a:schemeClr>
              </a:solidFill>
            </a:endParaRPr>
          </a:p>
        </p:txBody>
      </p:sp>
      <p:sp>
        <p:nvSpPr>
          <p:cNvPr id="7" name="文本占位符 6"/>
          <p:cNvSpPr>
            <a:spLocks noGrp="1"/>
          </p:cNvSpPr>
          <p:nvPr>
            <p:ph type="body" sz="quarter" idx="18"/>
          </p:nvPr>
        </p:nvSpPr>
        <p:spPr/>
        <p:txBody>
          <a:bodyPr/>
          <a:lstStyle/>
          <a:p>
            <a:r>
              <a:rPr lang="en-US" altLang="zh-CN" smtClean="0"/>
              <a:t>www</a:t>
            </a:r>
            <a:r>
              <a:rPr lang="en-US" altLang="zh-CN" sz="100" smtClean="0"/>
              <a:t> </a:t>
            </a:r>
            <a:r>
              <a:rPr lang="en-US" altLang="zh-CN" smtClean="0"/>
              <a:t>.</a:t>
            </a:r>
            <a:r>
              <a:rPr lang="en-US" altLang="zh-CN"/>
              <a:t>islide.cc</a:t>
            </a:r>
            <a:endParaRPr lang="en-US" altLang="en-US" dirty="0"/>
          </a:p>
        </p:txBody>
      </p:sp>
      <p:sp>
        <p:nvSpPr>
          <p:cNvPr id="6" name="文本占位符 5"/>
          <p:cNvSpPr>
            <a:spLocks noGrp="1"/>
          </p:cNvSpPr>
          <p:nvPr>
            <p:ph type="body" sz="quarter" idx="10"/>
          </p:nvPr>
        </p:nvSpPr>
        <p:spPr/>
        <p:txBody>
          <a:bodyPr/>
          <a:lstStyle/>
          <a:p>
            <a:r>
              <a:rPr lang="en-US" altLang="zh-CN" smtClean="0"/>
              <a:t>Spea</a:t>
            </a:r>
            <a:r>
              <a:rPr lang="en-US" altLang="zh-CN" sz="100" smtClean="0"/>
              <a:t> </a:t>
            </a:r>
            <a:r>
              <a:rPr lang="en-US" altLang="zh-CN" smtClean="0"/>
              <a:t>ker </a:t>
            </a:r>
            <a:r>
              <a:rPr lang="en-US" altLang="zh-CN"/>
              <a:t>name and title</a:t>
            </a:r>
            <a:endParaRPr lang="en-US" altLang="zh-CN" dirty="0"/>
          </a:p>
        </p:txBody>
      </p:sp>
    </p:spTree>
    <p:custDataLst>
      <p:tags r:id="rId3"/>
    </p:custDataLst>
    <p:extLst>
      <p:ext uri="{BB962C8B-B14F-4D97-AF65-F5344CB8AC3E}">
        <p14:creationId xmlns:p14="http://schemas.microsoft.com/office/powerpoint/2010/main" val="12590430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6" name="组合 15"/>
          <p:cNvGrpSpPr/>
          <p:nvPr/>
        </p:nvGrpSpPr>
        <p:grpSpPr>
          <a:xfrm>
            <a:off x="1022814" y="2128462"/>
            <a:ext cx="4460537" cy="691252"/>
            <a:chOff x="1101012" y="2911151"/>
            <a:chExt cx="9573211" cy="1483567"/>
          </a:xfrm>
        </p:grpSpPr>
        <p:sp>
          <p:nvSpPr>
            <p:cNvPr id="2" name="椭圆 1"/>
            <p:cNvSpPr/>
            <p:nvPr/>
          </p:nvSpPr>
          <p:spPr>
            <a:xfrm>
              <a:off x="5551715" y="3069771"/>
              <a:ext cx="643813" cy="64381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7" name="椭圆 6"/>
            <p:cNvSpPr/>
            <p:nvPr/>
          </p:nvSpPr>
          <p:spPr>
            <a:xfrm>
              <a:off x="6447454" y="3069771"/>
              <a:ext cx="643813" cy="6438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8" name="椭圆 7"/>
            <p:cNvSpPr/>
            <p:nvPr/>
          </p:nvSpPr>
          <p:spPr>
            <a:xfrm>
              <a:off x="7343193" y="3069771"/>
              <a:ext cx="643813" cy="6438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9" name="椭圆 8"/>
            <p:cNvSpPr/>
            <p:nvPr/>
          </p:nvSpPr>
          <p:spPr>
            <a:xfrm>
              <a:off x="8238932" y="3069771"/>
              <a:ext cx="643813" cy="64381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0" name="椭圆 9"/>
            <p:cNvSpPr/>
            <p:nvPr/>
          </p:nvSpPr>
          <p:spPr>
            <a:xfrm>
              <a:off x="9134671" y="3069771"/>
              <a:ext cx="643813" cy="6438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1" name="椭圆 10"/>
            <p:cNvSpPr/>
            <p:nvPr/>
          </p:nvSpPr>
          <p:spPr>
            <a:xfrm>
              <a:off x="10030410" y="3069771"/>
              <a:ext cx="643813" cy="64381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2" name="椭圆 11"/>
            <p:cNvSpPr/>
            <p:nvPr/>
          </p:nvSpPr>
          <p:spPr>
            <a:xfrm>
              <a:off x="1101012" y="3069771"/>
              <a:ext cx="643813" cy="643813"/>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3" name="椭圆 12"/>
            <p:cNvSpPr/>
            <p:nvPr/>
          </p:nvSpPr>
          <p:spPr>
            <a:xfrm>
              <a:off x="1996751" y="3069771"/>
              <a:ext cx="643813" cy="64381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4" name="椭圆 13"/>
            <p:cNvSpPr/>
            <p:nvPr/>
          </p:nvSpPr>
          <p:spPr>
            <a:xfrm>
              <a:off x="2892490" y="3069771"/>
              <a:ext cx="643813" cy="64381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5" name="椭圆 14"/>
            <p:cNvSpPr/>
            <p:nvPr/>
          </p:nvSpPr>
          <p:spPr>
            <a:xfrm>
              <a:off x="3788229" y="3069771"/>
              <a:ext cx="643813" cy="64381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cxnSp>
          <p:nvCxnSpPr>
            <p:cNvPr id="4" name="直接连接符 3"/>
            <p:cNvCxnSpPr/>
            <p:nvPr/>
          </p:nvCxnSpPr>
          <p:spPr>
            <a:xfrm>
              <a:off x="4982546" y="2911151"/>
              <a:ext cx="0" cy="148356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18" name="文本框 17"/>
          <p:cNvSpPr txBox="1"/>
          <p:nvPr/>
        </p:nvSpPr>
        <p:spPr>
          <a:xfrm>
            <a:off x="660400" y="1512849"/>
            <a:ext cx="5852173" cy="276999"/>
          </a:xfrm>
          <a:prstGeom prst="rect">
            <a:avLst/>
          </a:prstGeom>
          <a:noFill/>
        </p:spPr>
        <p:txBody>
          <a:bodyPr wrap="square" rtlCol="0">
            <a:spAutoFit/>
          </a:bodyPr>
          <a:lstStyle/>
          <a:p>
            <a:r>
              <a:rPr lang="zh-CN" altLang="en-US" sz="1200" dirty="0"/>
              <a:t>主题</a:t>
            </a:r>
            <a:r>
              <a:rPr lang="zh-CN" altLang="en-US" sz="1200"/>
              <a:t>色彩 </a:t>
            </a:r>
            <a:r>
              <a:rPr lang="en-US" altLang="zh-CN" sz="1200" smtClean="0"/>
              <a:t>THEM</a:t>
            </a:r>
            <a:r>
              <a:rPr lang="en-US" altLang="zh-CN" sz="100" smtClean="0"/>
              <a:t> </a:t>
            </a:r>
            <a:r>
              <a:rPr lang="en-US" altLang="zh-CN" sz="1200" smtClean="0"/>
              <a:t>E </a:t>
            </a:r>
            <a:r>
              <a:rPr lang="en-US" altLang="zh-CN" sz="1200" dirty="0"/>
              <a:t>COLORS</a:t>
            </a:r>
            <a:endParaRPr lang="zh-CN" altLang="en-US" sz="1200" dirty="0"/>
          </a:p>
        </p:txBody>
      </p:sp>
      <p:cxnSp>
        <p:nvCxnSpPr>
          <p:cNvPr id="20" name="直接连接符 19"/>
          <p:cNvCxnSpPr/>
          <p:nvPr/>
        </p:nvCxnSpPr>
        <p:spPr>
          <a:xfrm>
            <a:off x="669931" y="1843079"/>
            <a:ext cx="5852175"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21" name="文本框 20"/>
          <p:cNvSpPr txBox="1"/>
          <p:nvPr/>
        </p:nvSpPr>
        <p:spPr>
          <a:xfrm>
            <a:off x="669929" y="2689501"/>
            <a:ext cx="2161443" cy="215444"/>
          </a:xfrm>
          <a:prstGeom prst="rect">
            <a:avLst/>
          </a:prstGeom>
          <a:noFill/>
        </p:spPr>
        <p:txBody>
          <a:bodyPr wrap="square" rtlCol="0">
            <a:spAutoFit/>
          </a:bodyPr>
          <a:lstStyle>
            <a:defPPr>
              <a:defRPr lang="zh-CN"/>
            </a:defPPr>
            <a:lvl1pPr algn="ctr">
              <a:defRPr sz="800"/>
            </a:lvl1pPr>
          </a:lstStyle>
          <a:p>
            <a:r>
              <a:rPr lang="zh-CN" altLang="en-US" dirty="0"/>
              <a:t>文字</a:t>
            </a:r>
            <a:r>
              <a:rPr lang="en-US" altLang="zh-CN" dirty="0"/>
              <a:t>/</a:t>
            </a:r>
            <a:r>
              <a:rPr lang="zh-CN" altLang="en-US" dirty="0"/>
              <a:t>背景 </a:t>
            </a:r>
            <a:r>
              <a:rPr lang="en-US" altLang="zh-CN"/>
              <a:t>Text</a:t>
            </a:r>
            <a:r>
              <a:rPr lang="en-US" altLang="zh-CN" smtClean="0"/>
              <a:t>/</a:t>
            </a:r>
            <a:r>
              <a:rPr lang="en-US" altLang="zh-CN" sz="100" smtClean="0"/>
              <a:t> </a:t>
            </a:r>
            <a:r>
              <a:rPr lang="en-US" altLang="zh-CN" smtClean="0"/>
              <a:t>Background</a:t>
            </a:r>
            <a:endParaRPr lang="zh-CN" altLang="en-US" dirty="0"/>
          </a:p>
        </p:txBody>
      </p:sp>
      <p:sp>
        <p:nvSpPr>
          <p:cNvPr id="22" name="文本框 21"/>
          <p:cNvSpPr txBox="1"/>
          <p:nvPr/>
        </p:nvSpPr>
        <p:spPr>
          <a:xfrm>
            <a:off x="2841871" y="2689501"/>
            <a:ext cx="2876627" cy="215444"/>
          </a:xfrm>
          <a:prstGeom prst="rect">
            <a:avLst/>
          </a:prstGeom>
          <a:noFill/>
        </p:spPr>
        <p:txBody>
          <a:bodyPr wrap="square" rtlCol="0">
            <a:spAutoFit/>
          </a:bodyPr>
          <a:lstStyle/>
          <a:p>
            <a:pPr algn="ctr"/>
            <a:r>
              <a:rPr lang="zh-CN" altLang="en-US" sz="800" dirty="0"/>
              <a:t>填充</a:t>
            </a:r>
            <a:r>
              <a:rPr lang="zh-CN" altLang="en-US" sz="800"/>
              <a:t>色 </a:t>
            </a:r>
            <a:r>
              <a:rPr lang="en-US" altLang="zh-CN" sz="800" smtClean="0"/>
              <a:t>Fill</a:t>
            </a:r>
            <a:r>
              <a:rPr lang="en-US" altLang="zh-CN" sz="100" smtClean="0"/>
              <a:t> </a:t>
            </a:r>
            <a:r>
              <a:rPr lang="en-US" altLang="zh-CN" sz="800" smtClean="0"/>
              <a:t> </a:t>
            </a:r>
            <a:r>
              <a:rPr lang="en-US" altLang="zh-CN" sz="800" dirty="0"/>
              <a:t>Colors</a:t>
            </a:r>
            <a:endParaRPr lang="zh-CN" altLang="en-US" sz="800" dirty="0"/>
          </a:p>
        </p:txBody>
      </p:sp>
      <p:sp>
        <p:nvSpPr>
          <p:cNvPr id="25" name="文本框 24"/>
          <p:cNvSpPr txBox="1"/>
          <p:nvPr/>
        </p:nvSpPr>
        <p:spPr>
          <a:xfrm>
            <a:off x="660400" y="3943133"/>
            <a:ext cx="5852173" cy="276999"/>
          </a:xfrm>
          <a:prstGeom prst="rect">
            <a:avLst/>
          </a:prstGeom>
          <a:noFill/>
        </p:spPr>
        <p:txBody>
          <a:bodyPr wrap="square" rtlCol="0">
            <a:spAutoFit/>
          </a:bodyPr>
          <a:lstStyle/>
          <a:p>
            <a:r>
              <a:rPr lang="zh-CN" altLang="en-US" sz="1200" dirty="0"/>
              <a:t>主题字体 </a:t>
            </a:r>
            <a:r>
              <a:rPr lang="en-US" altLang="zh-CN" sz="1200"/>
              <a:t>THEME </a:t>
            </a:r>
            <a:r>
              <a:rPr lang="en-US" altLang="zh-CN" sz="1200" smtClean="0"/>
              <a:t>FO</a:t>
            </a:r>
            <a:r>
              <a:rPr lang="en-US" altLang="zh-CN" sz="100" smtClean="0"/>
              <a:t> </a:t>
            </a:r>
            <a:r>
              <a:rPr lang="en-US" altLang="zh-CN" sz="1200" smtClean="0"/>
              <a:t>NTS</a:t>
            </a:r>
            <a:endParaRPr lang="zh-CN" altLang="en-US" sz="1200" dirty="0"/>
          </a:p>
        </p:txBody>
      </p:sp>
      <p:cxnSp>
        <p:nvCxnSpPr>
          <p:cNvPr id="26" name="直接连接符 25"/>
          <p:cNvCxnSpPr/>
          <p:nvPr/>
        </p:nvCxnSpPr>
        <p:spPr>
          <a:xfrm>
            <a:off x="669931" y="4273363"/>
            <a:ext cx="5852175"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27" name="矩形 26"/>
          <p:cNvSpPr/>
          <p:nvPr/>
        </p:nvSpPr>
        <p:spPr>
          <a:xfrm>
            <a:off x="660400" y="4407104"/>
            <a:ext cx="5048569" cy="461665"/>
          </a:xfrm>
          <a:prstGeom prst="rect">
            <a:avLst/>
          </a:prstGeom>
          <a:noFill/>
        </p:spPr>
        <p:txBody>
          <a:bodyPr wrap="square" rtlCol="0">
            <a:spAutoFit/>
          </a:bodyPr>
          <a:lstStyle/>
          <a:p>
            <a:r>
              <a:rPr lang="zh-CN" altLang="en-US" sz="800" dirty="0"/>
              <a:t>中文字体：微软雅黑  </a:t>
            </a:r>
            <a:r>
              <a:rPr lang="en-US" altLang="zh-CN" sz="800" dirty="0"/>
              <a:t>East Asian Font: Microsoft </a:t>
            </a:r>
            <a:r>
              <a:rPr lang="en-US" altLang="zh-CN" sz="800" dirty="0" err="1"/>
              <a:t>YaHei</a:t>
            </a:r>
            <a:endParaRPr lang="en-US" altLang="zh-CN" sz="800" dirty="0"/>
          </a:p>
          <a:p>
            <a:endParaRPr lang="en-US" altLang="zh-CN" sz="800" dirty="0"/>
          </a:p>
          <a:p>
            <a:r>
              <a:rPr lang="zh-CN" altLang="en-US" sz="800" dirty="0"/>
              <a:t>英文字体：</a:t>
            </a:r>
            <a:r>
              <a:rPr lang="en-US" altLang="zh-CN" sz="800" dirty="0"/>
              <a:t>Arial  </a:t>
            </a:r>
            <a:r>
              <a:rPr lang="en-US" altLang="zh-CN" sz="800"/>
              <a:t>Latin </a:t>
            </a:r>
            <a:r>
              <a:rPr lang="en-US" altLang="zh-CN" sz="800" smtClean="0"/>
              <a:t>Fon</a:t>
            </a:r>
            <a:r>
              <a:rPr lang="en-US" altLang="zh-CN" sz="100" smtClean="0"/>
              <a:t> </a:t>
            </a:r>
            <a:r>
              <a:rPr lang="en-US" altLang="zh-CN" sz="800" smtClean="0"/>
              <a:t>t</a:t>
            </a:r>
            <a:r>
              <a:rPr lang="en-US" altLang="zh-CN" sz="800" dirty="0"/>
              <a:t>: Arial</a:t>
            </a:r>
            <a:endParaRPr lang="zh-CN" altLang="en-US" sz="800" dirty="0"/>
          </a:p>
        </p:txBody>
      </p:sp>
      <p:sp>
        <p:nvSpPr>
          <p:cNvPr id="32" name="文本框 31"/>
          <p:cNvSpPr txBox="1"/>
          <p:nvPr/>
        </p:nvSpPr>
        <p:spPr>
          <a:xfrm>
            <a:off x="6959600" y="1512850"/>
            <a:ext cx="4559300" cy="276999"/>
          </a:xfrm>
          <a:prstGeom prst="rect">
            <a:avLst/>
          </a:prstGeom>
          <a:noFill/>
        </p:spPr>
        <p:txBody>
          <a:bodyPr wrap="square" rtlCol="0">
            <a:spAutoFit/>
          </a:bodyPr>
          <a:lstStyle/>
          <a:p>
            <a:r>
              <a:rPr lang="zh-CN" altLang="en-US" sz="1200" dirty="0"/>
              <a:t>预设参考线（</a:t>
            </a:r>
            <a:r>
              <a:rPr lang="en-US" altLang="zh-CN" sz="1200" dirty="0"/>
              <a:t>2016</a:t>
            </a:r>
            <a:r>
              <a:rPr lang="zh-CN" altLang="en-US" sz="1200" dirty="0"/>
              <a:t>版本及以上）</a:t>
            </a:r>
            <a:r>
              <a:rPr lang="en-US" altLang="zh-CN" sz="1200" dirty="0"/>
              <a:t> GUIDES (Office 2016 </a:t>
            </a:r>
            <a:r>
              <a:rPr lang="en-US" altLang="zh-CN" sz="1200"/>
              <a:t>and </a:t>
            </a:r>
            <a:r>
              <a:rPr lang="en-US" altLang="zh-CN" sz="100" smtClean="0"/>
              <a:t> </a:t>
            </a:r>
            <a:r>
              <a:rPr lang="en-US" altLang="zh-CN" sz="1200" smtClean="0"/>
              <a:t>later</a:t>
            </a:r>
            <a:r>
              <a:rPr lang="en-US" altLang="zh-CN" sz="1200" dirty="0"/>
              <a:t>)</a:t>
            </a:r>
            <a:endParaRPr lang="zh-CN" altLang="en-US" sz="1200" dirty="0"/>
          </a:p>
        </p:txBody>
      </p:sp>
      <p:cxnSp>
        <p:nvCxnSpPr>
          <p:cNvPr id="33" name="直接连接符 32"/>
          <p:cNvCxnSpPr/>
          <p:nvPr/>
        </p:nvCxnSpPr>
        <p:spPr>
          <a:xfrm>
            <a:off x="6959600" y="1843079"/>
            <a:ext cx="4559300"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grpSp>
        <p:nvGrpSpPr>
          <p:cNvPr id="17" name="组合 16">
            <a:extLst>
              <a:ext uri="{FF2B5EF4-FFF2-40B4-BE49-F238E27FC236}">
                <a16:creationId xmlns:a16="http://schemas.microsoft.com/office/drawing/2014/main" xmlns:p14="http://schemas.microsoft.com/office/powerpoint/2010/main" xmlns:a14="http://schemas.microsoft.com/office/drawing/2010/main" xmlns="" id="{28681F2F-E8A9-44CF-AC1F-76EC4E7757F0}"/>
              </a:ext>
            </a:extLst>
          </p:cNvPr>
          <p:cNvGrpSpPr/>
          <p:nvPr/>
        </p:nvGrpSpPr>
        <p:grpSpPr>
          <a:xfrm>
            <a:off x="6959600" y="2103062"/>
            <a:ext cx="4559300" cy="2807437"/>
            <a:chOff x="7069136" y="2204131"/>
            <a:chExt cx="4449763" cy="2731768"/>
          </a:xfrm>
        </p:grpSpPr>
        <p:sp>
          <p:nvSpPr>
            <p:cNvPr id="35" name="矩形 34"/>
            <p:cNvSpPr/>
            <p:nvPr/>
          </p:nvSpPr>
          <p:spPr>
            <a:xfrm>
              <a:off x="7069136" y="2240063"/>
              <a:ext cx="4449763" cy="2502992"/>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cxnSp>
          <p:nvCxnSpPr>
            <p:cNvPr id="37" name="直接连接符 36"/>
            <p:cNvCxnSpPr/>
            <p:nvPr/>
          </p:nvCxnSpPr>
          <p:spPr>
            <a:xfrm>
              <a:off x="7332272" y="2204131"/>
              <a:ext cx="0" cy="273176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11279121" y="2204131"/>
              <a:ext cx="0" cy="273176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a:off x="7069136" y="2667250"/>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a:off x="7069136" y="2746566"/>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7069136" y="4443013"/>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a:off x="7069136" y="4517658"/>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a:off x="7332271" y="2741895"/>
              <a:ext cx="3946849" cy="170111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47" name="矩形 46"/>
          <p:cNvSpPr/>
          <p:nvPr/>
        </p:nvSpPr>
        <p:spPr>
          <a:xfrm>
            <a:off x="6959600" y="4822368"/>
            <a:ext cx="4559300" cy="461665"/>
          </a:xfrm>
          <a:prstGeom prst="rect">
            <a:avLst/>
          </a:prstGeom>
          <a:noFill/>
        </p:spPr>
        <p:txBody>
          <a:bodyPr wrap="square" rtlCol="0">
            <a:spAutoFit/>
          </a:bodyPr>
          <a:lstStyle/>
          <a:p>
            <a:r>
              <a:rPr lang="en-US" altLang="zh-CN" sz="800" dirty="0"/>
              <a:t>ALT+F9 </a:t>
            </a:r>
            <a:r>
              <a:rPr lang="zh-CN" altLang="en-US" sz="800" dirty="0"/>
              <a:t>开启和查看本主题预设的参考线</a:t>
            </a:r>
            <a:endParaRPr lang="en-US" altLang="zh-CN" sz="800" dirty="0"/>
          </a:p>
          <a:p>
            <a:r>
              <a:rPr lang="en-US" altLang="zh-CN" sz="800" dirty="0"/>
              <a:t>Press Alt + F9 </a:t>
            </a:r>
            <a:r>
              <a:rPr lang="en-US" altLang="zh-CN" sz="800"/>
              <a:t>to</a:t>
            </a:r>
            <a:r>
              <a:rPr lang="zh-CN" altLang="en-US" sz="800"/>
              <a:t> </a:t>
            </a:r>
            <a:r>
              <a:rPr lang="en-US" altLang="zh-CN" sz="800" smtClean="0"/>
              <a:t>s</a:t>
            </a:r>
            <a:r>
              <a:rPr lang="en-US" altLang="zh-CN" sz="100" smtClean="0"/>
              <a:t> </a:t>
            </a:r>
            <a:r>
              <a:rPr lang="en-US" altLang="zh-CN" sz="800" smtClean="0"/>
              <a:t>how/hide </a:t>
            </a:r>
            <a:r>
              <a:rPr lang="en-US" altLang="zh-CN" sz="800" dirty="0"/>
              <a:t>guides</a:t>
            </a:r>
          </a:p>
          <a:p>
            <a:endParaRPr lang="zh-CN" altLang="en-US" sz="800" dirty="0"/>
          </a:p>
        </p:txBody>
      </p:sp>
      <p:sp>
        <p:nvSpPr>
          <p:cNvPr id="39" name="文本框 38"/>
          <p:cNvSpPr txBox="1"/>
          <p:nvPr/>
        </p:nvSpPr>
        <p:spPr>
          <a:xfrm>
            <a:off x="660400" y="3104927"/>
            <a:ext cx="585217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zh-CN"/>
            </a:defPPr>
            <a:lvl1pPr>
              <a:defRPr sz="1200">
                <a:solidFill>
                  <a:schemeClr val="tx1">
                    <a:lumMod val="50000"/>
                    <a:lumOff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800" dirty="0">
                <a:solidFill>
                  <a:srgbClr val="2F2F2F"/>
                </a:solidFill>
              </a:rPr>
              <a:t>可以通过</a:t>
            </a:r>
            <a:r>
              <a:rPr lang="en-US" altLang="zh-CN" sz="800" dirty="0">
                <a:solidFill>
                  <a:srgbClr val="2F2F2F"/>
                </a:solidFill>
              </a:rPr>
              <a:t>iSlide 【</a:t>
            </a:r>
            <a:r>
              <a:rPr lang="zh-CN" altLang="en-US" sz="800" dirty="0">
                <a:solidFill>
                  <a:srgbClr val="2F2F2F"/>
                </a:solidFill>
              </a:rPr>
              <a:t>色彩库</a:t>
            </a:r>
            <a:r>
              <a:rPr lang="en-US" altLang="zh-CN" sz="800" dirty="0">
                <a:solidFill>
                  <a:srgbClr val="2F2F2F"/>
                </a:solidFill>
              </a:rPr>
              <a:t>】</a:t>
            </a:r>
            <a:r>
              <a:rPr lang="zh-CN" altLang="en-US" sz="800" dirty="0">
                <a:solidFill>
                  <a:srgbClr val="2F2F2F"/>
                </a:solidFill>
              </a:rPr>
              <a:t>功能，快速应用更多色彩</a:t>
            </a:r>
            <a:endParaRPr lang="en-US" altLang="zh-CN" sz="800" dirty="0">
              <a:solidFill>
                <a:srgbClr val="2F2F2F"/>
              </a:solidFill>
            </a:endParaRPr>
          </a:p>
          <a:p>
            <a:r>
              <a:rPr lang="en-US" altLang="zh-CN" sz="800" dirty="0">
                <a:solidFill>
                  <a:srgbClr val="2F2F2F"/>
                </a:solidFill>
              </a:rPr>
              <a:t>More color schemes are optional in iSlide </a:t>
            </a:r>
            <a:r>
              <a:rPr lang="en-US" altLang="zh-CN" sz="800">
                <a:solidFill>
                  <a:srgbClr val="2F2F2F"/>
                </a:solidFill>
              </a:rPr>
              <a:t>Color </a:t>
            </a:r>
            <a:r>
              <a:rPr lang="en-US" altLang="zh-CN" sz="100" smtClean="0">
                <a:solidFill>
                  <a:srgbClr val="2F2F2F"/>
                </a:solidFill>
              </a:rPr>
              <a:t> </a:t>
            </a:r>
            <a:r>
              <a:rPr lang="en-US" altLang="zh-CN" sz="800" smtClean="0">
                <a:solidFill>
                  <a:srgbClr val="2F2F2F"/>
                </a:solidFill>
              </a:rPr>
              <a:t>Library</a:t>
            </a:r>
            <a:r>
              <a:rPr lang="en-US" altLang="zh-CN" sz="800" dirty="0">
                <a:solidFill>
                  <a:srgbClr val="2F2F2F"/>
                </a:solidFill>
              </a:rPr>
              <a:t>. Just click to apply</a:t>
            </a:r>
            <a:endParaRPr lang="zh-CN" altLang="en-US" sz="800" dirty="0">
              <a:solidFill>
                <a:srgbClr val="2F2F2F"/>
              </a:solidFill>
            </a:endParaRPr>
          </a:p>
        </p:txBody>
      </p:sp>
      <p:sp>
        <p:nvSpPr>
          <p:cNvPr id="44" name="文本框 43"/>
          <p:cNvSpPr txBox="1"/>
          <p:nvPr/>
        </p:nvSpPr>
        <p:spPr>
          <a:xfrm>
            <a:off x="660400" y="5304245"/>
            <a:ext cx="585217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zh-CN"/>
            </a:defPPr>
            <a:lvl1pPr>
              <a:defRPr sz="1200">
                <a:solidFill>
                  <a:schemeClr val="tx1">
                    <a:lumMod val="50000"/>
                    <a:lumOff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800" dirty="0">
                <a:solidFill>
                  <a:srgbClr val="2F2F2F"/>
                </a:solidFill>
              </a:rPr>
              <a:t>可以在</a:t>
            </a:r>
            <a:r>
              <a:rPr lang="en-US" altLang="zh-CN" sz="800" dirty="0">
                <a:solidFill>
                  <a:srgbClr val="2F2F2F"/>
                </a:solidFill>
              </a:rPr>
              <a:t>【</a:t>
            </a:r>
            <a:r>
              <a:rPr lang="zh-CN" altLang="en-US" sz="800" dirty="0">
                <a:solidFill>
                  <a:srgbClr val="2F2F2F"/>
                </a:solidFill>
              </a:rPr>
              <a:t>设计</a:t>
            </a:r>
            <a:r>
              <a:rPr lang="en-US" altLang="zh-CN" sz="800" dirty="0">
                <a:solidFill>
                  <a:srgbClr val="2F2F2F"/>
                </a:solidFill>
              </a:rPr>
              <a:t>】</a:t>
            </a:r>
            <a:r>
              <a:rPr lang="zh-CN" altLang="en-US" sz="800" dirty="0">
                <a:solidFill>
                  <a:srgbClr val="2F2F2F"/>
                </a:solidFill>
              </a:rPr>
              <a:t>菜单</a:t>
            </a:r>
            <a:r>
              <a:rPr lang="en-US" altLang="zh-CN" sz="800" dirty="0">
                <a:solidFill>
                  <a:srgbClr val="2F2F2F"/>
                </a:solidFill>
              </a:rPr>
              <a:t>【</a:t>
            </a:r>
            <a:r>
              <a:rPr lang="zh-CN" altLang="en-US" sz="800" dirty="0">
                <a:solidFill>
                  <a:srgbClr val="2F2F2F"/>
                </a:solidFill>
              </a:rPr>
              <a:t>字体</a:t>
            </a:r>
            <a:r>
              <a:rPr lang="en-US" altLang="zh-CN" sz="800" dirty="0">
                <a:solidFill>
                  <a:srgbClr val="2F2F2F"/>
                </a:solidFill>
              </a:rPr>
              <a:t>】</a:t>
            </a:r>
            <a:r>
              <a:rPr lang="zh-CN" altLang="en-US" sz="800" dirty="0">
                <a:solidFill>
                  <a:srgbClr val="2F2F2F"/>
                </a:solidFill>
              </a:rPr>
              <a:t>中改变，或应用</a:t>
            </a:r>
            <a:r>
              <a:rPr lang="en-US" altLang="zh-CN" sz="800" dirty="0">
                <a:solidFill>
                  <a:srgbClr val="2F2F2F"/>
                </a:solidFill>
              </a:rPr>
              <a:t>iSlide【</a:t>
            </a:r>
            <a:r>
              <a:rPr lang="zh-CN" altLang="en-US" sz="800" dirty="0">
                <a:solidFill>
                  <a:srgbClr val="2F2F2F"/>
                </a:solidFill>
              </a:rPr>
              <a:t>统一字体</a:t>
            </a:r>
            <a:r>
              <a:rPr lang="en-US" altLang="zh-CN" sz="800" dirty="0">
                <a:solidFill>
                  <a:srgbClr val="2F2F2F"/>
                </a:solidFill>
              </a:rPr>
              <a:t>】</a:t>
            </a:r>
            <a:r>
              <a:rPr lang="zh-CN" altLang="en-US" sz="800" dirty="0">
                <a:solidFill>
                  <a:srgbClr val="2F2F2F"/>
                </a:solidFill>
              </a:rPr>
              <a:t>功能改变设置</a:t>
            </a:r>
            <a:endParaRPr lang="en-US" altLang="zh-CN" sz="800" dirty="0">
              <a:solidFill>
                <a:srgbClr val="2F2F2F"/>
              </a:solidFill>
            </a:endParaRPr>
          </a:p>
          <a:p>
            <a:r>
              <a:rPr lang="en-US" altLang="zh-CN" sz="800" dirty="0">
                <a:solidFill>
                  <a:srgbClr val="2F2F2F"/>
                </a:solidFill>
              </a:rPr>
              <a:t>To change theme fonts, you can click Design &gt; Variants &gt; Fonts</a:t>
            </a:r>
            <a:r>
              <a:rPr lang="en-US" altLang="zh-CN" sz="800">
                <a:solidFill>
                  <a:srgbClr val="2F2F2F"/>
                </a:solidFill>
              </a:rPr>
              <a:t>, </a:t>
            </a:r>
            <a:r>
              <a:rPr lang="en-US" altLang="zh-CN" sz="800" smtClean="0">
                <a:solidFill>
                  <a:srgbClr val="2F2F2F"/>
                </a:solidFill>
              </a:rPr>
              <a:t>or</a:t>
            </a:r>
            <a:r>
              <a:rPr lang="en-US" altLang="zh-CN" sz="100" smtClean="0">
                <a:solidFill>
                  <a:srgbClr val="2F2F2F"/>
                </a:solidFill>
              </a:rPr>
              <a:t> </a:t>
            </a:r>
            <a:r>
              <a:rPr lang="en-US" altLang="zh-CN" sz="800" smtClean="0">
                <a:solidFill>
                  <a:srgbClr val="2F2F2F"/>
                </a:solidFill>
              </a:rPr>
              <a:t> </a:t>
            </a:r>
            <a:r>
              <a:rPr lang="en-US" altLang="zh-CN" sz="800" dirty="0">
                <a:solidFill>
                  <a:srgbClr val="2F2F2F"/>
                </a:solidFill>
              </a:rPr>
              <a:t>use “Uniform Fonts” feature of </a:t>
            </a:r>
            <a:r>
              <a:rPr lang="en-US" altLang="zh-CN" sz="800" dirty="0" err="1">
                <a:solidFill>
                  <a:srgbClr val="2F2F2F"/>
                </a:solidFill>
              </a:rPr>
              <a:t>iSlide</a:t>
            </a:r>
            <a:endParaRPr lang="zh-CN" altLang="en-US" sz="800" dirty="0">
              <a:solidFill>
                <a:srgbClr val="2F2F2F"/>
              </a:solidFill>
            </a:endParaRPr>
          </a:p>
        </p:txBody>
      </p:sp>
      <p:sp>
        <p:nvSpPr>
          <p:cNvPr id="6" name="Rectangle 5">
            <a:extLst>
              <a:ext uri="{FF2B5EF4-FFF2-40B4-BE49-F238E27FC236}">
                <a16:creationId xmlns:a16="http://schemas.microsoft.com/office/drawing/2014/main" xmlns:p14="http://schemas.microsoft.com/office/powerpoint/2010/main" xmlns:a14="http://schemas.microsoft.com/office/drawing/2010/main" xmlns="" id="{821214C4-3D8B-473D-9D9C-F2F23FBFB600}"/>
              </a:ext>
            </a:extLst>
          </p:cNvPr>
          <p:cNvSpPr/>
          <p:nvPr/>
        </p:nvSpPr>
        <p:spPr>
          <a:xfrm>
            <a:off x="6959599" y="5304244"/>
            <a:ext cx="4559300" cy="400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CN" altLang="en-US" sz="800" dirty="0">
                <a:solidFill>
                  <a:srgbClr val="2F2F2F"/>
                </a:solidFill>
              </a:rPr>
              <a:t>可以通过</a:t>
            </a:r>
            <a:r>
              <a:rPr lang="en-US" altLang="zh-CN" sz="800" dirty="0">
                <a:solidFill>
                  <a:srgbClr val="2F2F2F"/>
                </a:solidFill>
              </a:rPr>
              <a:t>iSlide 【</a:t>
            </a:r>
            <a:r>
              <a:rPr lang="zh-CN" altLang="en-US" sz="800" dirty="0">
                <a:solidFill>
                  <a:srgbClr val="2F2F2F"/>
                </a:solidFill>
              </a:rPr>
              <a:t>一键优化</a:t>
            </a:r>
            <a:r>
              <a:rPr lang="en-US" altLang="zh-CN" sz="800" dirty="0">
                <a:solidFill>
                  <a:srgbClr val="2F2F2F"/>
                </a:solidFill>
              </a:rPr>
              <a:t>】</a:t>
            </a:r>
            <a:r>
              <a:rPr lang="zh-CN" altLang="en-US" sz="800" dirty="0">
                <a:solidFill>
                  <a:srgbClr val="2F2F2F"/>
                </a:solidFill>
              </a:rPr>
              <a:t>（智能参考线）功能，应用更多预设参考线</a:t>
            </a:r>
            <a:endParaRPr lang="en-US" altLang="zh-CN" sz="800" dirty="0">
              <a:solidFill>
                <a:srgbClr val="2F2F2F"/>
              </a:solidFill>
            </a:endParaRPr>
          </a:p>
          <a:p>
            <a:r>
              <a:rPr lang="en-US" altLang="zh-CN" sz="800" dirty="0">
                <a:solidFill>
                  <a:srgbClr val="2F2F2F"/>
                </a:solidFill>
              </a:rPr>
              <a:t>Use iSlide “Uniform Guides” feature </a:t>
            </a:r>
            <a:r>
              <a:rPr lang="en-US" altLang="zh-CN" sz="800">
                <a:solidFill>
                  <a:srgbClr val="2F2F2F"/>
                </a:solidFill>
              </a:rPr>
              <a:t>to </a:t>
            </a:r>
            <a:r>
              <a:rPr lang="en-US" altLang="zh-CN" sz="800" smtClean="0">
                <a:solidFill>
                  <a:srgbClr val="2F2F2F"/>
                </a:solidFill>
              </a:rPr>
              <a:t>edit</a:t>
            </a:r>
            <a:r>
              <a:rPr lang="en-US" altLang="zh-CN" sz="100" smtClean="0">
                <a:solidFill>
                  <a:srgbClr val="2F2F2F"/>
                </a:solidFill>
              </a:rPr>
              <a:t> </a:t>
            </a:r>
            <a:r>
              <a:rPr lang="en-US" altLang="zh-CN" sz="800" smtClean="0">
                <a:solidFill>
                  <a:srgbClr val="2F2F2F"/>
                </a:solidFill>
              </a:rPr>
              <a:t> </a:t>
            </a:r>
            <a:r>
              <a:rPr lang="en-US" altLang="zh-CN" sz="800" dirty="0">
                <a:solidFill>
                  <a:srgbClr val="2F2F2F"/>
                </a:solidFill>
              </a:rPr>
              <a:t>and apply more preset guides</a:t>
            </a:r>
          </a:p>
        </p:txBody>
      </p:sp>
      <p:sp>
        <p:nvSpPr>
          <p:cNvPr id="48" name="标题 1">
            <a:extLst>
              <a:ext uri="{FF2B5EF4-FFF2-40B4-BE49-F238E27FC236}">
                <a16:creationId xmlns:a16="http://schemas.microsoft.com/office/drawing/2014/main" xmlns:p14="http://schemas.microsoft.com/office/powerpoint/2010/main" xmlns:a14="http://schemas.microsoft.com/office/drawing/2010/main" xmlns="" id="{A063C456-63D9-49D6-A680-AB5AA5CB4C15}"/>
              </a:ext>
            </a:extLst>
          </p:cNvPr>
          <p:cNvSpPr txBox="1">
            <a:spLocks/>
          </p:cNvSpPr>
          <p:nvPr/>
        </p:nvSpPr>
        <p:spPr>
          <a:xfrm>
            <a:off x="660400" y="-1"/>
            <a:ext cx="10858500" cy="1028700"/>
          </a:xfrm>
          <a:prstGeom prst="rect">
            <a:avLst/>
          </a:prstGeom>
        </p:spPr>
        <p:txBody>
          <a:bodyPr vert="horz" lIns="91440" tIns="45720" rIns="91440" bIns="45720" rtlCol="0" anchor="b">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设计标准 </a:t>
            </a:r>
            <a:r>
              <a:rPr lang="en-US" altLang="zh-CN" sz="2800" b="1"/>
              <a:t>Design </a:t>
            </a:r>
            <a:r>
              <a:rPr lang="en-US" altLang="zh-CN" sz="2800" b="1" smtClean="0"/>
              <a:t>Cr</a:t>
            </a:r>
            <a:r>
              <a:rPr lang="en-US" altLang="zh-CN" sz="100" b="1" smtClean="0"/>
              <a:t> </a:t>
            </a:r>
            <a:r>
              <a:rPr lang="en-US" altLang="zh-CN" sz="2800" b="1" smtClean="0"/>
              <a:t>iteria</a:t>
            </a:r>
            <a:endParaRPr lang="zh-CN" altLang="en-US" sz="2800" b="1" dirty="0"/>
          </a:p>
        </p:txBody>
      </p:sp>
      <p:sp>
        <p:nvSpPr>
          <p:cNvPr id="51" name="矩形 50">
            <a:extLst>
              <a:ext uri="{FF2B5EF4-FFF2-40B4-BE49-F238E27FC236}">
                <a16:creationId xmlns:a16="http://schemas.microsoft.com/office/drawing/2014/main" xmlns:p14="http://schemas.microsoft.com/office/powerpoint/2010/main" xmlns:a14="http://schemas.microsoft.com/office/drawing/2010/main" xmlns="" id="{DB6B50C1-7119-4649-A59E-12A0D311364C}"/>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内容。</a:t>
            </a:r>
          </a:p>
          <a:p>
            <a:pPr>
              <a:lnSpc>
                <a:spcPct val="120000"/>
              </a:lnSpc>
            </a:pPr>
            <a:r>
              <a:rPr lang="en-US" altLang="zh-CN" sz="800" dirty="0">
                <a:solidFill>
                  <a:schemeClr val="bg1"/>
                </a:solidFill>
              </a:rPr>
              <a:t>This slide is an instruction. Please delete this </a:t>
            </a:r>
            <a:r>
              <a:rPr lang="en-US" altLang="zh-CN" sz="800">
                <a:solidFill>
                  <a:schemeClr val="bg1"/>
                </a:solidFill>
              </a:rPr>
              <a:t>slide </a:t>
            </a:r>
            <a:r>
              <a:rPr lang="en-US" altLang="zh-CN" sz="800" smtClean="0">
                <a:solidFill>
                  <a:schemeClr val="bg1"/>
                </a:solidFill>
              </a:rPr>
              <a:t>bef</a:t>
            </a:r>
            <a:r>
              <a:rPr lang="en-US" altLang="zh-CN" sz="100" smtClean="0">
                <a:solidFill>
                  <a:schemeClr val="bg1"/>
                </a:solidFill>
              </a:rPr>
              <a:t> </a:t>
            </a:r>
            <a:r>
              <a:rPr lang="en-US" altLang="zh-CN" sz="800" smtClean="0">
                <a:solidFill>
                  <a:schemeClr val="bg1"/>
                </a:solidFill>
              </a:rPr>
              <a:t>ore </a:t>
            </a:r>
            <a:r>
              <a:rPr lang="en-US" altLang="zh-CN" sz="800" dirty="0">
                <a:solidFill>
                  <a:schemeClr val="bg1"/>
                </a:solidFill>
              </a:rPr>
              <a:t>using it for presentation.</a:t>
            </a:r>
          </a:p>
        </p:txBody>
      </p:sp>
    </p:spTree>
    <p:custDataLst>
      <p:tags r:id="rId1"/>
    </p:custDataLst>
    <p:extLst>
      <p:ext uri="{BB962C8B-B14F-4D97-AF65-F5344CB8AC3E}">
        <p14:creationId xmlns:p14="http://schemas.microsoft.com/office/powerpoint/2010/main" val="54577895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副标题 9">
            <a:extLst>
              <a:ext uri="{FF2B5EF4-FFF2-40B4-BE49-F238E27FC236}">
                <a16:creationId xmlns:a16="http://schemas.microsoft.com/office/drawing/2014/main" xmlns:p14="http://schemas.microsoft.com/office/powerpoint/2010/main" xmlns:ahyp="http://schemas.microsoft.com/office/drawing/2018/hyperlinkcolor" xmlns="" id="{3B488FCE-2B18-46FF-9521-112BCCFC4FDA}"/>
              </a:ext>
            </a:extLst>
          </p:cNvPr>
          <p:cNvSpPr txBox="1">
            <a:spLocks/>
          </p:cNvSpPr>
          <p:nvPr/>
        </p:nvSpPr>
        <p:spPr>
          <a:xfrm>
            <a:off x="660400" y="5074963"/>
            <a:ext cx="10858500" cy="706715"/>
          </a:xfrm>
          <a:prstGeom prst="rect">
            <a:avLst/>
          </a:prstGeom>
        </p:spPr>
        <p:txBody>
          <a:bodyPr vert="horz" lIns="91440" tIns="45720" rIns="91440" bIns="45720" rtlCol="0" anchor="t">
            <a:noAutofit/>
          </a:bodyPr>
          <a:lstStyle>
            <a:lvl1pPr marL="0" indent="0" algn="ctr" defTabSz="914354" rtl="0" eaLnBrk="1" latinLnBrk="0" hangingPunct="1">
              <a:lnSpc>
                <a:spcPct val="100000"/>
              </a:lnSpc>
              <a:spcBef>
                <a:spcPts val="0"/>
              </a:spcBef>
              <a:buFont typeface="Arial" panose="020B0604020202020204" pitchFamily="34" charset="0"/>
              <a:buNone/>
              <a:defRPr sz="800" kern="1200">
                <a:solidFill>
                  <a:schemeClr val="bg1"/>
                </a:solidFill>
                <a:latin typeface="+mn-lt"/>
                <a:ea typeface="+mn-ea"/>
                <a:cs typeface="+mn-cs"/>
              </a:defRPr>
            </a:lvl1pPr>
            <a:lvl2pPr marL="457178" indent="0" algn="ctr" defTabSz="914354"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354" indent="0" algn="ctr" defTabSz="914354"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532"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709"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5886"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062"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240"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418"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914332">
              <a:defRPr/>
            </a:pPr>
            <a:r>
              <a:rPr lang="zh-CN" altLang="en-US" sz="1200" dirty="0">
                <a:solidFill>
                  <a:srgbClr val="2F2F2F"/>
                </a:solidFill>
                <a:latin typeface="Arial"/>
                <a:ea typeface="微软雅黑"/>
              </a:rPr>
              <a:t>免费下载 </a:t>
            </a:r>
            <a:r>
              <a:rPr lang="en-US" altLang="zh-CN" sz="1200" dirty="0">
                <a:solidFill>
                  <a:srgbClr val="2F2F2F"/>
                </a:solidFill>
                <a:latin typeface="Arial"/>
                <a:ea typeface="微软雅黑"/>
              </a:rPr>
              <a:t>/ Download for FREE</a:t>
            </a:r>
          </a:p>
          <a:p>
            <a:pPr algn="l" defTabSz="914332">
              <a:defRPr/>
            </a:pPr>
            <a:r>
              <a:rPr lang="en-US" altLang="zh-CN" sz="1200" smtClean="0">
                <a:solidFill>
                  <a:srgbClr val="FF4715"/>
                </a:solidFill>
                <a:latin typeface="Arial"/>
                <a:ea typeface="微软雅黑"/>
                <a:hlinkClick r:id="rId3">
                  <a:extLst>
                    <a:ext uri="{A12FA001-AC4F-418D-AE19-62706E023703}">
                      <ahyp:hlinkClr xmlns:ahyp="http://schemas.microsoft.com/office/drawing/2018/hyperlinkcolor" xmlns:p14="http://schemas.microsoft.com/office/powerpoint/2010/main" xmlns:a16="http://schemas.microsoft.com/office/drawing/2014/main" xmlns="" val="tx"/>
                    </a:ext>
                  </a:extLst>
                </a:hlinkClick>
              </a:rPr>
              <a:t>ww</a:t>
            </a:r>
            <a:r>
              <a:rPr lang="en-US" altLang="zh-CN" sz="100" smtClean="0">
                <a:solidFill>
                  <a:srgbClr val="FF4715"/>
                </a:solidFill>
                <a:latin typeface="Arial"/>
                <a:ea typeface="微软雅黑"/>
                <a:hlinkClick r:id="rId3">
                  <a:extLst>
                    <a:ext uri="{A12FA001-AC4F-418D-AE19-62706E023703}">
                      <ahyp:hlinkClr xmlns:ahyp="http://schemas.microsoft.com/office/drawing/2018/hyperlinkcolor" xmlns:p14="http://schemas.microsoft.com/office/powerpoint/2010/main" xmlns:a16="http://schemas.microsoft.com/office/drawing/2014/main" xmlns="" val="tx"/>
                    </a:ext>
                  </a:extLst>
                </a:hlinkClick>
              </a:rPr>
              <a:t> </a:t>
            </a:r>
            <a:r>
              <a:rPr lang="en-US" altLang="zh-CN" sz="1200" smtClean="0">
                <a:solidFill>
                  <a:srgbClr val="FF4715"/>
                </a:solidFill>
                <a:latin typeface="Arial"/>
                <a:ea typeface="微软雅黑"/>
                <a:hlinkClick r:id="rId3">
                  <a:extLst>
                    <a:ext uri="{A12FA001-AC4F-418D-AE19-62706E023703}">
                      <ahyp:hlinkClr xmlns:ahyp="http://schemas.microsoft.com/office/drawing/2018/hyperlinkcolor" xmlns:p14="http://schemas.microsoft.com/office/powerpoint/2010/main" xmlns:a16="http://schemas.microsoft.com/office/drawing/2014/main" xmlns="" val="tx"/>
                    </a:ext>
                  </a:extLst>
                </a:hlinkClick>
              </a:rPr>
              <a:t>w.islide.cc</a:t>
            </a:r>
            <a:endParaRPr lang="en-US" altLang="zh-CN" sz="1200" dirty="0">
              <a:solidFill>
                <a:srgbClr val="FF4715"/>
              </a:solidFill>
              <a:latin typeface="Arial"/>
              <a:ea typeface="微软雅黑"/>
            </a:endParaRPr>
          </a:p>
        </p:txBody>
      </p:sp>
      <p:grpSp>
        <p:nvGrpSpPr>
          <p:cNvPr id="4" name="组合 3">
            <a:extLst>
              <a:ext uri="{FF2B5EF4-FFF2-40B4-BE49-F238E27FC236}">
                <a16:creationId xmlns:a16="http://schemas.microsoft.com/office/drawing/2014/main" xmlns:p14="http://schemas.microsoft.com/office/powerpoint/2010/main" xmlns:ahyp="http://schemas.microsoft.com/office/drawing/2018/hyperlinkcolor" xmlns="" id="{B41C6D5D-76C7-4DE2-BC28-E41485001361}"/>
              </a:ext>
            </a:extLst>
          </p:cNvPr>
          <p:cNvGrpSpPr/>
          <p:nvPr/>
        </p:nvGrpSpPr>
        <p:grpSpPr>
          <a:xfrm>
            <a:off x="660400" y="2553342"/>
            <a:ext cx="10858500" cy="1770432"/>
            <a:chOff x="1853236" y="2525799"/>
            <a:chExt cx="10858500" cy="1770431"/>
          </a:xfrm>
        </p:grpSpPr>
        <p:sp>
          <p:nvSpPr>
            <p:cNvPr id="11" name="文本框 10">
              <a:extLst>
                <a:ext uri="{FF2B5EF4-FFF2-40B4-BE49-F238E27FC236}">
                  <a16:creationId xmlns:a16="http://schemas.microsoft.com/office/drawing/2014/main" xmlns:p14="http://schemas.microsoft.com/office/powerpoint/2010/main" xmlns:ahyp="http://schemas.microsoft.com/office/drawing/2018/hyperlinkcolor" xmlns="" id="{5D51D968-E05A-4D3F-ABFA-D4B82B79FDF3}"/>
                </a:ext>
              </a:extLst>
            </p:cNvPr>
            <p:cNvSpPr txBox="1"/>
            <p:nvPr/>
          </p:nvSpPr>
          <p:spPr>
            <a:xfrm>
              <a:off x="1853236" y="3760699"/>
              <a:ext cx="10858500" cy="535531"/>
            </a:xfrm>
            <a:prstGeom prst="rect">
              <a:avLst/>
            </a:prstGeom>
            <a:noFill/>
          </p:spPr>
          <p:txBody>
            <a:bodyPr wrap="square">
              <a:spAutoFit/>
            </a:bodyPr>
            <a:lstStyle/>
            <a:p>
              <a:pPr defTabSz="914332">
                <a:lnSpc>
                  <a:spcPct val="120000"/>
                </a:lnSpc>
                <a:spcBef>
                  <a:spcPct val="0"/>
                </a:spcBef>
                <a:defRPr/>
              </a:pPr>
              <a:r>
                <a:rPr lang="en-US" altLang="zh-CN" sz="1200"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iSlide add-in saves you 90% of the time </a:t>
              </a:r>
            </a:p>
            <a:p>
              <a:pPr defTabSz="914332">
                <a:lnSpc>
                  <a:spcPct val="120000"/>
                </a:lnSpc>
                <a:spcBef>
                  <a:spcPct val="0"/>
                </a:spcBef>
                <a:defRPr/>
              </a:pPr>
              <a:r>
                <a:rPr lang="en-US" altLang="zh-CN" sz="1200">
                  <a:solidFill>
                    <a:srgbClr val="2F2F2F"/>
                  </a:solidFill>
                  <a:latin typeface="微软雅黑" panose="020B0503020204020204" pitchFamily="34" charset="-122"/>
                  <a:ea typeface="微软雅黑" panose="020B0503020204020204" pitchFamily="34" charset="-122"/>
                  <a:cs typeface="Arial" panose="020B0604020202020204" pitchFamily="34" charset="0"/>
                </a:rPr>
                <a:t>in </a:t>
              </a:r>
              <a:r>
                <a:rPr lang="en-US" altLang="zh-CN" sz="1200" smtClean="0">
                  <a:solidFill>
                    <a:srgbClr val="2F2F2F"/>
                  </a:solidFill>
                  <a:latin typeface="微软雅黑" panose="020B0503020204020204" pitchFamily="34" charset="-122"/>
                  <a:ea typeface="微软雅黑" panose="020B0503020204020204" pitchFamily="34" charset="-122"/>
                  <a:cs typeface="Arial" panose="020B0604020202020204" pitchFamily="34" charset="0"/>
                </a:rPr>
                <a:t>ma</a:t>
              </a:r>
              <a:r>
                <a:rPr lang="en-US" altLang="zh-CN" sz="100" smtClean="0">
                  <a:solidFill>
                    <a:srgbClr val="2F2F2F"/>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smtClean="0">
                  <a:solidFill>
                    <a:srgbClr val="2F2F2F"/>
                  </a:solidFill>
                  <a:latin typeface="微软雅黑" panose="020B0503020204020204" pitchFamily="34" charset="-122"/>
                  <a:ea typeface="微软雅黑" panose="020B0503020204020204" pitchFamily="34" charset="-122"/>
                  <a:cs typeface="Arial" panose="020B0604020202020204" pitchFamily="34" charset="0"/>
                </a:rPr>
                <a:t>king </a:t>
              </a:r>
              <a:r>
                <a:rPr lang="en-US" altLang="zh-CN" sz="1200"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presentation</a:t>
              </a:r>
              <a:endParaRPr lang="en-US" altLang="en-US" dirty="0">
                <a:solidFill>
                  <a:srgbClr val="2F2F2F"/>
                </a:solidFill>
                <a:ea typeface="微软雅黑" panose="020B0503020204020204" pitchFamily="34" charset="-122"/>
                <a:cs typeface="Arial" panose="020B0604020202020204" pitchFamily="34" charset="0"/>
              </a:endParaRPr>
            </a:p>
          </p:txBody>
        </p:sp>
        <p:sp>
          <p:nvSpPr>
            <p:cNvPr id="2" name="矩形 1">
              <a:extLst>
                <a:ext uri="{FF2B5EF4-FFF2-40B4-BE49-F238E27FC236}">
                  <a16:creationId xmlns:a16="http://schemas.microsoft.com/office/drawing/2014/main" xmlns:p14="http://schemas.microsoft.com/office/powerpoint/2010/main" xmlns:ahyp="http://schemas.microsoft.com/office/drawing/2018/hyperlinkcolor" xmlns="" id="{0F09207A-DED4-4EE0-BCCC-3275073B5540}"/>
                </a:ext>
              </a:extLst>
            </p:cNvPr>
            <p:cNvSpPr/>
            <p:nvPr/>
          </p:nvSpPr>
          <p:spPr>
            <a:xfrm>
              <a:off x="1853236" y="2525799"/>
              <a:ext cx="10858500" cy="1052595"/>
            </a:xfrm>
            <a:prstGeom prst="rect">
              <a:avLst/>
            </a:prstGeom>
          </p:spPr>
          <p:txBody>
            <a:bodyPr wrap="square">
              <a:spAutoFit/>
            </a:bodyPr>
            <a:lstStyle/>
            <a:p>
              <a:pPr defTabSz="914332">
                <a:lnSpc>
                  <a:spcPct val="120000"/>
                </a:lnSpc>
                <a:spcBef>
                  <a:spcPct val="0"/>
                </a:spcBef>
                <a:defRPr/>
              </a:pPr>
              <a:r>
                <a:rPr lang="zh-CN" altLang="en-US" sz="2000">
                  <a:solidFill>
                    <a:srgbClr val="2F2F2F"/>
                  </a:solidFill>
                  <a:latin typeface="Arial" panose="020B0604020202020204" pitchFamily="34" charset="0"/>
                  <a:ea typeface="微软雅黑" panose="020B0503020204020204" pitchFamily="34" charset="-122"/>
                  <a:cs typeface="Arial" panose="020B0604020202020204" pitchFamily="34" charset="0"/>
                </a:rPr>
                <a:t>使用 </a:t>
              </a:r>
              <a:r>
                <a:rPr lang="en-US" altLang="zh-CN" sz="2000" smtClean="0">
                  <a:solidFill>
                    <a:srgbClr val="2F2F2F"/>
                  </a:solidFill>
                  <a:latin typeface="Arial" panose="020B0604020202020204" pitchFamily="34" charset="0"/>
                  <a:ea typeface="微软雅黑" panose="020B0503020204020204" pitchFamily="34" charset="-122"/>
                  <a:cs typeface="Arial" panose="020B0604020202020204" pitchFamily="34" charset="0"/>
                </a:rPr>
                <a:t>i</a:t>
              </a:r>
              <a:r>
                <a:rPr lang="en-US" altLang="zh-CN" sz="100" smtClean="0">
                  <a:solidFill>
                    <a:srgbClr val="2F2F2F"/>
                  </a:solidFill>
                  <a:latin typeface="Arial" panose="020B0604020202020204" pitchFamily="34" charset="0"/>
                  <a:ea typeface="微软雅黑" panose="020B0503020204020204" pitchFamily="34" charset="-122"/>
                  <a:cs typeface="Arial" panose="020B0604020202020204" pitchFamily="34" charset="0"/>
                </a:rPr>
                <a:t> </a:t>
              </a:r>
              <a:r>
                <a:rPr lang="en-US" altLang="zh-CN" sz="2000" smtClean="0">
                  <a:solidFill>
                    <a:srgbClr val="2F2F2F"/>
                  </a:solidFill>
                  <a:latin typeface="Arial" panose="020B0604020202020204" pitchFamily="34" charset="0"/>
                  <a:ea typeface="微软雅黑" panose="020B0503020204020204" pitchFamily="34" charset="-122"/>
                  <a:cs typeface="Arial" panose="020B0604020202020204" pitchFamily="34" charset="0"/>
                </a:rPr>
                <a:t>Slide </a:t>
              </a:r>
              <a:r>
                <a:rPr lang="en-US" altLang="zh-CN" sz="2000" dirty="0">
                  <a:solidFill>
                    <a:srgbClr val="2F2F2F"/>
                  </a:solidFill>
                  <a:latin typeface="Arial" panose="020B0604020202020204" pitchFamily="34" charset="0"/>
                  <a:ea typeface="微软雅黑" panose="020B0503020204020204" pitchFamily="34" charset="-122"/>
                  <a:cs typeface="Arial" panose="020B0604020202020204" pitchFamily="34" charset="0"/>
                </a:rPr>
                <a:t>PPT </a:t>
              </a:r>
              <a:r>
                <a:rPr lang="zh-CN" altLang="en-US" sz="2000" dirty="0">
                  <a:solidFill>
                    <a:srgbClr val="2F2F2F"/>
                  </a:solidFill>
                  <a:latin typeface="Arial" panose="020B0604020202020204" pitchFamily="34" charset="0"/>
                  <a:ea typeface="微软雅黑" panose="020B0503020204020204" pitchFamily="34" charset="-122"/>
                  <a:cs typeface="Arial" panose="020B0604020202020204" pitchFamily="34" charset="0"/>
                </a:rPr>
                <a:t>插件</a:t>
              </a:r>
              <a:br>
                <a:rPr lang="zh-CN" altLang="en-US" sz="2000" dirty="0">
                  <a:solidFill>
                    <a:srgbClr val="2F2F2F"/>
                  </a:solidFill>
                  <a:latin typeface="Arial" panose="020B0604020202020204" pitchFamily="34" charset="0"/>
                  <a:ea typeface="微软雅黑" panose="020B0503020204020204" pitchFamily="34" charset="-122"/>
                  <a:cs typeface="Arial" panose="020B0604020202020204" pitchFamily="34" charset="0"/>
                </a:rPr>
              </a:br>
              <a:r>
                <a:rPr lang="zh-CN" altLang="en-US"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为您节省 </a:t>
              </a:r>
              <a:r>
                <a:rPr lang="en-US" altLang="zh-CN"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90% </a:t>
              </a:r>
              <a:r>
                <a:rPr lang="zh-CN" altLang="en-US"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的 </a:t>
              </a:r>
              <a:r>
                <a:rPr lang="en-US" altLang="zh-CN"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PPT </a:t>
              </a:r>
              <a:r>
                <a:rPr lang="zh-CN" altLang="en-US"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设计时间</a:t>
              </a:r>
              <a:endParaRPr lang="en-US" altLang="en-US" sz="2800" dirty="0">
                <a:solidFill>
                  <a:srgbClr val="2F2F2F"/>
                </a:solidFill>
                <a:ea typeface="微软雅黑" panose="020B0503020204020204" pitchFamily="34" charset="-122"/>
                <a:cs typeface="Arial" panose="020B0604020202020204" pitchFamily="34" charset="0"/>
              </a:endParaRPr>
            </a:p>
          </p:txBody>
        </p:sp>
      </p:grpSp>
      <p:grpSp>
        <p:nvGrpSpPr>
          <p:cNvPr id="6" name="组合 5">
            <a:extLst>
              <a:ext uri="{FF2B5EF4-FFF2-40B4-BE49-F238E27FC236}">
                <a16:creationId xmlns:a16="http://schemas.microsoft.com/office/drawing/2014/main" xmlns:p14="http://schemas.microsoft.com/office/powerpoint/2010/main" xmlns:ahyp="http://schemas.microsoft.com/office/drawing/2018/hyperlinkcolor" xmlns="" id="{B20079A2-31CE-44D6-B924-1FF5F075B638}"/>
              </a:ext>
            </a:extLst>
          </p:cNvPr>
          <p:cNvGrpSpPr/>
          <p:nvPr/>
        </p:nvGrpSpPr>
        <p:grpSpPr>
          <a:xfrm>
            <a:off x="5252647" y="0"/>
            <a:ext cx="6939359" cy="6858000"/>
            <a:chOff x="5252643" y="0"/>
            <a:chExt cx="6939358" cy="6858000"/>
          </a:xfrm>
          <a:solidFill>
            <a:srgbClr val="F7F7F7"/>
          </a:solidFill>
        </p:grpSpPr>
        <p:sp>
          <p:nvSpPr>
            <p:cNvPr id="7" name="任意多边形: 形状 6">
              <a:extLst>
                <a:ext uri="{FF2B5EF4-FFF2-40B4-BE49-F238E27FC236}">
                  <a16:creationId xmlns:a16="http://schemas.microsoft.com/office/drawing/2014/main" xmlns:p14="http://schemas.microsoft.com/office/powerpoint/2010/main" xmlns:ahyp="http://schemas.microsoft.com/office/drawing/2018/hyperlinkcolor" xmlns="" id="{87027812-39ED-48F2-B846-15AF98F3E812}"/>
                </a:ext>
              </a:extLst>
            </p:cNvPr>
            <p:cNvSpPr>
              <a:spLocks/>
            </p:cNvSpPr>
            <p:nvPr/>
          </p:nvSpPr>
          <p:spPr>
            <a:xfrm rot="19800000">
              <a:off x="7350845" y="2199545"/>
              <a:ext cx="2772000" cy="2772000"/>
            </a:xfrm>
            <a:custGeom>
              <a:avLst/>
              <a:gdLst>
                <a:gd name="connsiteX0" fmla="*/ 786764 w 1905000"/>
                <a:gd name="connsiteY0" fmla="*/ 1857375 h 1866900"/>
                <a:gd name="connsiteX1" fmla="*/ 1116329 w 1905000"/>
                <a:gd name="connsiteY1" fmla="*/ 1857375 h 1866900"/>
                <a:gd name="connsiteX2" fmla="*/ 1047749 w 1905000"/>
                <a:gd name="connsiteY2" fmla="*/ 1866900 h 1866900"/>
                <a:gd name="connsiteX3" fmla="*/ 855344 w 1905000"/>
                <a:gd name="connsiteY3" fmla="*/ 1866900 h 1866900"/>
                <a:gd name="connsiteX4" fmla="*/ 786764 w 1905000"/>
                <a:gd name="connsiteY4" fmla="*/ 1857375 h 1866900"/>
                <a:gd name="connsiteX5" fmla="*/ 614362 w 1905000"/>
                <a:gd name="connsiteY5" fmla="*/ 1809750 h 1866900"/>
                <a:gd name="connsiteX6" fmla="*/ 1290637 w 1905000"/>
                <a:gd name="connsiteY6" fmla="*/ 1809750 h 1866900"/>
                <a:gd name="connsiteX7" fmla="*/ 1263967 w 1905000"/>
                <a:gd name="connsiteY7" fmla="*/ 1819275 h 1866900"/>
                <a:gd name="connsiteX8" fmla="*/ 640079 w 1905000"/>
                <a:gd name="connsiteY8" fmla="*/ 1819275 h 1866900"/>
                <a:gd name="connsiteX9" fmla="*/ 614362 w 1905000"/>
                <a:gd name="connsiteY9" fmla="*/ 1809750 h 1866900"/>
                <a:gd name="connsiteX10" fmla="*/ 509587 w 1905000"/>
                <a:gd name="connsiteY10" fmla="*/ 1762125 h 1866900"/>
                <a:gd name="connsiteX11" fmla="*/ 1396365 w 1905000"/>
                <a:gd name="connsiteY11" fmla="*/ 1762125 h 1866900"/>
                <a:gd name="connsiteX12" fmla="*/ 1377315 w 1905000"/>
                <a:gd name="connsiteY12" fmla="*/ 1771650 h 1866900"/>
                <a:gd name="connsiteX13" fmla="*/ 527685 w 1905000"/>
                <a:gd name="connsiteY13" fmla="*/ 1771650 h 1866900"/>
                <a:gd name="connsiteX14" fmla="*/ 509587 w 1905000"/>
                <a:gd name="connsiteY14" fmla="*/ 1762125 h 1866900"/>
                <a:gd name="connsiteX15" fmla="*/ 428625 w 1905000"/>
                <a:gd name="connsiteY15" fmla="*/ 1714500 h 1866900"/>
                <a:gd name="connsiteX16" fmla="*/ 1478280 w 1905000"/>
                <a:gd name="connsiteY16" fmla="*/ 1714500 h 1866900"/>
                <a:gd name="connsiteX17" fmla="*/ 1463040 w 1905000"/>
                <a:gd name="connsiteY17" fmla="*/ 1724025 h 1866900"/>
                <a:gd name="connsiteX18" fmla="*/ 443865 w 1905000"/>
                <a:gd name="connsiteY18" fmla="*/ 1724025 h 1866900"/>
                <a:gd name="connsiteX19" fmla="*/ 428625 w 1905000"/>
                <a:gd name="connsiteY19" fmla="*/ 1714500 h 1866900"/>
                <a:gd name="connsiteX20" fmla="*/ 362902 w 1905000"/>
                <a:gd name="connsiteY20" fmla="*/ 1666875 h 1866900"/>
                <a:gd name="connsiteX21" fmla="*/ 1544002 w 1905000"/>
                <a:gd name="connsiteY21" fmla="*/ 1666875 h 1866900"/>
                <a:gd name="connsiteX22" fmla="*/ 1531620 w 1905000"/>
                <a:gd name="connsiteY22" fmla="*/ 1676400 h 1866900"/>
                <a:gd name="connsiteX23" fmla="*/ 375285 w 1905000"/>
                <a:gd name="connsiteY23" fmla="*/ 1676400 h 1866900"/>
                <a:gd name="connsiteX24" fmla="*/ 362902 w 1905000"/>
                <a:gd name="connsiteY24" fmla="*/ 1666875 h 1866900"/>
                <a:gd name="connsiteX25" fmla="*/ 306705 w 1905000"/>
                <a:gd name="connsiteY25" fmla="*/ 1619250 h 1866900"/>
                <a:gd name="connsiteX26" fmla="*/ 1599247 w 1905000"/>
                <a:gd name="connsiteY26" fmla="*/ 1619250 h 1866900"/>
                <a:gd name="connsiteX27" fmla="*/ 1588770 w 1905000"/>
                <a:gd name="connsiteY27" fmla="*/ 1628775 h 1866900"/>
                <a:gd name="connsiteX28" fmla="*/ 317182 w 1905000"/>
                <a:gd name="connsiteY28" fmla="*/ 1628775 h 1866900"/>
                <a:gd name="connsiteX29" fmla="*/ 306705 w 1905000"/>
                <a:gd name="connsiteY29" fmla="*/ 1619250 h 1866900"/>
                <a:gd name="connsiteX30" fmla="*/ 258127 w 1905000"/>
                <a:gd name="connsiteY30" fmla="*/ 1571625 h 1866900"/>
                <a:gd name="connsiteX31" fmla="*/ 1646872 w 1905000"/>
                <a:gd name="connsiteY31" fmla="*/ 1571625 h 1866900"/>
                <a:gd name="connsiteX32" fmla="*/ 1637347 w 1905000"/>
                <a:gd name="connsiteY32" fmla="*/ 1581150 h 1866900"/>
                <a:gd name="connsiteX33" fmla="*/ 266699 w 1905000"/>
                <a:gd name="connsiteY33" fmla="*/ 1581150 h 1866900"/>
                <a:gd name="connsiteX34" fmla="*/ 258127 w 1905000"/>
                <a:gd name="connsiteY34" fmla="*/ 1571625 h 1866900"/>
                <a:gd name="connsiteX35" fmla="*/ 216217 w 1905000"/>
                <a:gd name="connsiteY35" fmla="*/ 1524000 h 1866900"/>
                <a:gd name="connsiteX36" fmla="*/ 1687830 w 1905000"/>
                <a:gd name="connsiteY36" fmla="*/ 1524000 h 1866900"/>
                <a:gd name="connsiteX37" fmla="*/ 1680209 w 1905000"/>
                <a:gd name="connsiteY37" fmla="*/ 1533525 h 1866900"/>
                <a:gd name="connsiteX38" fmla="*/ 223837 w 1905000"/>
                <a:gd name="connsiteY38" fmla="*/ 1533525 h 1866900"/>
                <a:gd name="connsiteX39" fmla="*/ 216217 w 1905000"/>
                <a:gd name="connsiteY39" fmla="*/ 1524000 h 1866900"/>
                <a:gd name="connsiteX40" fmla="*/ 180022 w 1905000"/>
                <a:gd name="connsiteY40" fmla="*/ 1476375 h 1866900"/>
                <a:gd name="connsiteX41" fmla="*/ 1724977 w 1905000"/>
                <a:gd name="connsiteY41" fmla="*/ 1476375 h 1866900"/>
                <a:gd name="connsiteX42" fmla="*/ 1718310 w 1905000"/>
                <a:gd name="connsiteY42" fmla="*/ 1485900 h 1866900"/>
                <a:gd name="connsiteX43" fmla="*/ 186690 w 1905000"/>
                <a:gd name="connsiteY43" fmla="*/ 1485900 h 1866900"/>
                <a:gd name="connsiteX44" fmla="*/ 180022 w 1905000"/>
                <a:gd name="connsiteY44" fmla="*/ 1476375 h 1866900"/>
                <a:gd name="connsiteX45" fmla="*/ 147637 w 1905000"/>
                <a:gd name="connsiteY45" fmla="*/ 1428750 h 1866900"/>
                <a:gd name="connsiteX46" fmla="*/ 1756410 w 1905000"/>
                <a:gd name="connsiteY46" fmla="*/ 1428750 h 1866900"/>
                <a:gd name="connsiteX47" fmla="*/ 1750695 w 1905000"/>
                <a:gd name="connsiteY47" fmla="*/ 1438275 h 1866900"/>
                <a:gd name="connsiteX48" fmla="*/ 153352 w 1905000"/>
                <a:gd name="connsiteY48" fmla="*/ 1438275 h 1866900"/>
                <a:gd name="connsiteX49" fmla="*/ 147637 w 1905000"/>
                <a:gd name="connsiteY49" fmla="*/ 1428750 h 1866900"/>
                <a:gd name="connsiteX50" fmla="*/ 119062 w 1905000"/>
                <a:gd name="connsiteY50" fmla="*/ 1381125 h 1866900"/>
                <a:gd name="connsiteX51" fmla="*/ 1785937 w 1905000"/>
                <a:gd name="connsiteY51" fmla="*/ 1381125 h 1866900"/>
                <a:gd name="connsiteX52" fmla="*/ 1780222 w 1905000"/>
                <a:gd name="connsiteY52" fmla="*/ 1390650 h 1866900"/>
                <a:gd name="connsiteX53" fmla="*/ 124777 w 1905000"/>
                <a:gd name="connsiteY53" fmla="*/ 1390650 h 1866900"/>
                <a:gd name="connsiteX54" fmla="*/ 119062 w 1905000"/>
                <a:gd name="connsiteY54" fmla="*/ 1381125 h 1866900"/>
                <a:gd name="connsiteX55" fmla="*/ 95250 w 1905000"/>
                <a:gd name="connsiteY55" fmla="*/ 1333500 h 1866900"/>
                <a:gd name="connsiteX56" fmla="*/ 1810703 w 1905000"/>
                <a:gd name="connsiteY56" fmla="*/ 1333500 h 1866900"/>
                <a:gd name="connsiteX57" fmla="*/ 1805940 w 1905000"/>
                <a:gd name="connsiteY57" fmla="*/ 1343025 h 1866900"/>
                <a:gd name="connsiteX58" fmla="*/ 100013 w 1905000"/>
                <a:gd name="connsiteY58" fmla="*/ 1343025 h 1866900"/>
                <a:gd name="connsiteX59" fmla="*/ 95250 w 1905000"/>
                <a:gd name="connsiteY59" fmla="*/ 1333500 h 1866900"/>
                <a:gd name="connsiteX60" fmla="*/ 73342 w 1905000"/>
                <a:gd name="connsiteY60" fmla="*/ 1285875 h 1866900"/>
                <a:gd name="connsiteX61" fmla="*/ 1830705 w 1905000"/>
                <a:gd name="connsiteY61" fmla="*/ 1285875 h 1866900"/>
                <a:gd name="connsiteX62" fmla="*/ 1826895 w 1905000"/>
                <a:gd name="connsiteY62" fmla="*/ 1295400 h 1866900"/>
                <a:gd name="connsiteX63" fmla="*/ 77152 w 1905000"/>
                <a:gd name="connsiteY63" fmla="*/ 1295400 h 1866900"/>
                <a:gd name="connsiteX64" fmla="*/ 73342 w 1905000"/>
                <a:gd name="connsiteY64" fmla="*/ 1285875 h 1866900"/>
                <a:gd name="connsiteX65" fmla="*/ 55245 w 1905000"/>
                <a:gd name="connsiteY65" fmla="*/ 1238250 h 1866900"/>
                <a:gd name="connsiteX66" fmla="*/ 1850708 w 1905000"/>
                <a:gd name="connsiteY66" fmla="*/ 1238250 h 1866900"/>
                <a:gd name="connsiteX67" fmla="*/ 1846898 w 1905000"/>
                <a:gd name="connsiteY67" fmla="*/ 1247775 h 1866900"/>
                <a:gd name="connsiteX68" fmla="*/ 59055 w 1905000"/>
                <a:gd name="connsiteY68" fmla="*/ 1247775 h 1866900"/>
                <a:gd name="connsiteX69" fmla="*/ 55245 w 1905000"/>
                <a:gd name="connsiteY69" fmla="*/ 1238250 h 1866900"/>
                <a:gd name="connsiteX70" fmla="*/ 40004 w 1905000"/>
                <a:gd name="connsiteY70" fmla="*/ 1190625 h 1866900"/>
                <a:gd name="connsiteX71" fmla="*/ 1865947 w 1905000"/>
                <a:gd name="connsiteY71" fmla="*/ 1190625 h 1866900"/>
                <a:gd name="connsiteX72" fmla="*/ 1863089 w 1905000"/>
                <a:gd name="connsiteY72" fmla="*/ 1200150 h 1866900"/>
                <a:gd name="connsiteX73" fmla="*/ 42862 w 1905000"/>
                <a:gd name="connsiteY73" fmla="*/ 1200150 h 1866900"/>
                <a:gd name="connsiteX74" fmla="*/ 40004 w 1905000"/>
                <a:gd name="connsiteY74" fmla="*/ 1190625 h 1866900"/>
                <a:gd name="connsiteX75" fmla="*/ 26669 w 1905000"/>
                <a:gd name="connsiteY75" fmla="*/ 1143000 h 1866900"/>
                <a:gd name="connsiteX76" fmla="*/ 1878329 w 1905000"/>
                <a:gd name="connsiteY76" fmla="*/ 1143000 h 1866900"/>
                <a:gd name="connsiteX77" fmla="*/ 1876424 w 1905000"/>
                <a:gd name="connsiteY77" fmla="*/ 1152525 h 1866900"/>
                <a:gd name="connsiteX78" fmla="*/ 29526 w 1905000"/>
                <a:gd name="connsiteY78" fmla="*/ 1152525 h 1866900"/>
                <a:gd name="connsiteX79" fmla="*/ 26669 w 1905000"/>
                <a:gd name="connsiteY79" fmla="*/ 1143000 h 1866900"/>
                <a:gd name="connsiteX80" fmla="*/ 16192 w 1905000"/>
                <a:gd name="connsiteY80" fmla="*/ 1095375 h 1866900"/>
                <a:gd name="connsiteX81" fmla="*/ 1888807 w 1905000"/>
                <a:gd name="connsiteY81" fmla="*/ 1095375 h 1866900"/>
                <a:gd name="connsiteX82" fmla="*/ 1886902 w 1905000"/>
                <a:gd name="connsiteY82" fmla="*/ 1104900 h 1866900"/>
                <a:gd name="connsiteX83" fmla="*/ 18097 w 1905000"/>
                <a:gd name="connsiteY83" fmla="*/ 1104900 h 1866900"/>
                <a:gd name="connsiteX84" fmla="*/ 16192 w 1905000"/>
                <a:gd name="connsiteY84" fmla="*/ 1095375 h 1866900"/>
                <a:gd name="connsiteX85" fmla="*/ 8572 w 1905000"/>
                <a:gd name="connsiteY85" fmla="*/ 1047750 h 1866900"/>
                <a:gd name="connsiteX86" fmla="*/ 1896427 w 1905000"/>
                <a:gd name="connsiteY86" fmla="*/ 1047750 h 1866900"/>
                <a:gd name="connsiteX87" fmla="*/ 1895475 w 1905000"/>
                <a:gd name="connsiteY87" fmla="*/ 1057275 h 1866900"/>
                <a:gd name="connsiteX88" fmla="*/ 9525 w 1905000"/>
                <a:gd name="connsiteY88" fmla="*/ 1057275 h 1866900"/>
                <a:gd name="connsiteX89" fmla="*/ 8572 w 1905000"/>
                <a:gd name="connsiteY89" fmla="*/ 1047750 h 1866900"/>
                <a:gd name="connsiteX90" fmla="*/ 3810 w 1905000"/>
                <a:gd name="connsiteY90" fmla="*/ 1000125 h 1866900"/>
                <a:gd name="connsiteX91" fmla="*/ 1902143 w 1905000"/>
                <a:gd name="connsiteY91" fmla="*/ 1000125 h 1866900"/>
                <a:gd name="connsiteX92" fmla="*/ 1901190 w 1905000"/>
                <a:gd name="connsiteY92" fmla="*/ 1009650 h 1866900"/>
                <a:gd name="connsiteX93" fmla="*/ 4762 w 1905000"/>
                <a:gd name="connsiteY93" fmla="*/ 1009650 h 1866900"/>
                <a:gd name="connsiteX94" fmla="*/ 3810 w 1905000"/>
                <a:gd name="connsiteY94" fmla="*/ 1000125 h 1866900"/>
                <a:gd name="connsiteX95" fmla="*/ 952 w 1905000"/>
                <a:gd name="connsiteY95" fmla="*/ 952500 h 1866900"/>
                <a:gd name="connsiteX96" fmla="*/ 1904047 w 1905000"/>
                <a:gd name="connsiteY96" fmla="*/ 952500 h 1866900"/>
                <a:gd name="connsiteX97" fmla="*/ 1904047 w 1905000"/>
                <a:gd name="connsiteY97" fmla="*/ 962025 h 1866900"/>
                <a:gd name="connsiteX98" fmla="*/ 952 w 1905000"/>
                <a:gd name="connsiteY98" fmla="*/ 962025 h 1866900"/>
                <a:gd name="connsiteX99" fmla="*/ 952 w 1905000"/>
                <a:gd name="connsiteY99" fmla="*/ 952500 h 1866900"/>
                <a:gd name="connsiteX100" fmla="*/ 0 w 1905000"/>
                <a:gd name="connsiteY100" fmla="*/ 904875 h 1866900"/>
                <a:gd name="connsiteX101" fmla="*/ 1905000 w 1905000"/>
                <a:gd name="connsiteY101" fmla="*/ 904875 h 1866900"/>
                <a:gd name="connsiteX102" fmla="*/ 1905000 w 1905000"/>
                <a:gd name="connsiteY102" fmla="*/ 914400 h 1866900"/>
                <a:gd name="connsiteX103" fmla="*/ 0 w 1905000"/>
                <a:gd name="connsiteY103" fmla="*/ 914400 h 1866900"/>
                <a:gd name="connsiteX104" fmla="*/ 0 w 1905000"/>
                <a:gd name="connsiteY104" fmla="*/ 904875 h 1866900"/>
                <a:gd name="connsiteX105" fmla="*/ 1905 w 1905000"/>
                <a:gd name="connsiteY105" fmla="*/ 857250 h 1866900"/>
                <a:gd name="connsiteX106" fmla="*/ 1902142 w 1905000"/>
                <a:gd name="connsiteY106" fmla="*/ 857250 h 1866900"/>
                <a:gd name="connsiteX107" fmla="*/ 1903095 w 1905000"/>
                <a:gd name="connsiteY107" fmla="*/ 866775 h 1866900"/>
                <a:gd name="connsiteX108" fmla="*/ 952 w 1905000"/>
                <a:gd name="connsiteY108" fmla="*/ 866775 h 1866900"/>
                <a:gd name="connsiteX109" fmla="*/ 1905 w 1905000"/>
                <a:gd name="connsiteY109" fmla="*/ 857250 h 1866900"/>
                <a:gd name="connsiteX110" fmla="*/ 6667 w 1905000"/>
                <a:gd name="connsiteY110" fmla="*/ 809625 h 1866900"/>
                <a:gd name="connsiteX111" fmla="*/ 1899285 w 1905000"/>
                <a:gd name="connsiteY111" fmla="*/ 809625 h 1866900"/>
                <a:gd name="connsiteX112" fmla="*/ 1900238 w 1905000"/>
                <a:gd name="connsiteY112" fmla="*/ 819150 h 1866900"/>
                <a:gd name="connsiteX113" fmla="*/ 5715 w 1905000"/>
                <a:gd name="connsiteY113" fmla="*/ 819150 h 1866900"/>
                <a:gd name="connsiteX114" fmla="*/ 6667 w 1905000"/>
                <a:gd name="connsiteY114" fmla="*/ 809625 h 1866900"/>
                <a:gd name="connsiteX115" fmla="*/ 13335 w 1905000"/>
                <a:gd name="connsiteY115" fmla="*/ 762000 h 1866900"/>
                <a:gd name="connsiteX116" fmla="*/ 1891665 w 1905000"/>
                <a:gd name="connsiteY116" fmla="*/ 762000 h 1866900"/>
                <a:gd name="connsiteX117" fmla="*/ 1893570 w 1905000"/>
                <a:gd name="connsiteY117" fmla="*/ 771525 h 1866900"/>
                <a:gd name="connsiteX118" fmla="*/ 11430 w 1905000"/>
                <a:gd name="connsiteY118" fmla="*/ 771525 h 1866900"/>
                <a:gd name="connsiteX119" fmla="*/ 13335 w 1905000"/>
                <a:gd name="connsiteY119" fmla="*/ 762000 h 1866900"/>
                <a:gd name="connsiteX120" fmla="*/ 21907 w 1905000"/>
                <a:gd name="connsiteY120" fmla="*/ 714375 h 1866900"/>
                <a:gd name="connsiteX121" fmla="*/ 1883092 w 1905000"/>
                <a:gd name="connsiteY121" fmla="*/ 714375 h 1866900"/>
                <a:gd name="connsiteX122" fmla="*/ 1884997 w 1905000"/>
                <a:gd name="connsiteY122" fmla="*/ 723900 h 1866900"/>
                <a:gd name="connsiteX123" fmla="*/ 20002 w 1905000"/>
                <a:gd name="connsiteY123" fmla="*/ 723900 h 1866900"/>
                <a:gd name="connsiteX124" fmla="*/ 21907 w 1905000"/>
                <a:gd name="connsiteY124" fmla="*/ 714375 h 1866900"/>
                <a:gd name="connsiteX125" fmla="*/ 34289 w 1905000"/>
                <a:gd name="connsiteY125" fmla="*/ 666750 h 1866900"/>
                <a:gd name="connsiteX126" fmla="*/ 1870710 w 1905000"/>
                <a:gd name="connsiteY126" fmla="*/ 666750 h 1866900"/>
                <a:gd name="connsiteX127" fmla="*/ 1873567 w 1905000"/>
                <a:gd name="connsiteY127" fmla="*/ 676275 h 1866900"/>
                <a:gd name="connsiteX128" fmla="*/ 31432 w 1905000"/>
                <a:gd name="connsiteY128" fmla="*/ 676275 h 1866900"/>
                <a:gd name="connsiteX129" fmla="*/ 34289 w 1905000"/>
                <a:gd name="connsiteY129" fmla="*/ 666750 h 1866900"/>
                <a:gd name="connsiteX130" fmla="*/ 48577 w 1905000"/>
                <a:gd name="connsiteY130" fmla="*/ 619125 h 1866900"/>
                <a:gd name="connsiteX131" fmla="*/ 1857375 w 1905000"/>
                <a:gd name="connsiteY131" fmla="*/ 619125 h 1866900"/>
                <a:gd name="connsiteX132" fmla="*/ 1860233 w 1905000"/>
                <a:gd name="connsiteY132" fmla="*/ 628650 h 1866900"/>
                <a:gd name="connsiteX133" fmla="*/ 45720 w 1905000"/>
                <a:gd name="connsiteY133" fmla="*/ 628650 h 1866900"/>
                <a:gd name="connsiteX134" fmla="*/ 48577 w 1905000"/>
                <a:gd name="connsiteY134" fmla="*/ 619125 h 1866900"/>
                <a:gd name="connsiteX135" fmla="*/ 65722 w 1905000"/>
                <a:gd name="connsiteY135" fmla="*/ 571500 h 1866900"/>
                <a:gd name="connsiteX136" fmla="*/ 1839277 w 1905000"/>
                <a:gd name="connsiteY136" fmla="*/ 571500 h 1866900"/>
                <a:gd name="connsiteX137" fmla="*/ 1843087 w 1905000"/>
                <a:gd name="connsiteY137" fmla="*/ 581025 h 1866900"/>
                <a:gd name="connsiteX138" fmla="*/ 61912 w 1905000"/>
                <a:gd name="connsiteY138" fmla="*/ 581025 h 1866900"/>
                <a:gd name="connsiteX139" fmla="*/ 65722 w 1905000"/>
                <a:gd name="connsiteY139" fmla="*/ 571500 h 1866900"/>
                <a:gd name="connsiteX140" fmla="*/ 85725 w 1905000"/>
                <a:gd name="connsiteY140" fmla="*/ 523875 h 1866900"/>
                <a:gd name="connsiteX141" fmla="*/ 1819275 w 1905000"/>
                <a:gd name="connsiteY141" fmla="*/ 523875 h 1866900"/>
                <a:gd name="connsiteX142" fmla="*/ 1823085 w 1905000"/>
                <a:gd name="connsiteY142" fmla="*/ 533400 h 1866900"/>
                <a:gd name="connsiteX143" fmla="*/ 80962 w 1905000"/>
                <a:gd name="connsiteY143" fmla="*/ 533400 h 1866900"/>
                <a:gd name="connsiteX144" fmla="*/ 85725 w 1905000"/>
                <a:gd name="connsiteY144" fmla="*/ 523875 h 1866900"/>
                <a:gd name="connsiteX145" fmla="*/ 109538 w 1905000"/>
                <a:gd name="connsiteY145" fmla="*/ 476250 h 1866900"/>
                <a:gd name="connsiteX146" fmla="*/ 1796415 w 1905000"/>
                <a:gd name="connsiteY146" fmla="*/ 476250 h 1866900"/>
                <a:gd name="connsiteX147" fmla="*/ 1801178 w 1905000"/>
                <a:gd name="connsiteY147" fmla="*/ 485775 h 1866900"/>
                <a:gd name="connsiteX148" fmla="*/ 104775 w 1905000"/>
                <a:gd name="connsiteY148" fmla="*/ 485775 h 1866900"/>
                <a:gd name="connsiteX149" fmla="*/ 109538 w 1905000"/>
                <a:gd name="connsiteY149" fmla="*/ 476250 h 1866900"/>
                <a:gd name="connsiteX150" fmla="*/ 136207 w 1905000"/>
                <a:gd name="connsiteY150" fmla="*/ 428625 h 1866900"/>
                <a:gd name="connsiteX151" fmla="*/ 1768792 w 1905000"/>
                <a:gd name="connsiteY151" fmla="*/ 428625 h 1866900"/>
                <a:gd name="connsiteX152" fmla="*/ 1774507 w 1905000"/>
                <a:gd name="connsiteY152" fmla="*/ 438150 h 1866900"/>
                <a:gd name="connsiteX153" fmla="*/ 130492 w 1905000"/>
                <a:gd name="connsiteY153" fmla="*/ 438150 h 1866900"/>
                <a:gd name="connsiteX154" fmla="*/ 136207 w 1905000"/>
                <a:gd name="connsiteY154" fmla="*/ 428625 h 1866900"/>
                <a:gd name="connsiteX155" fmla="*/ 166687 w 1905000"/>
                <a:gd name="connsiteY155" fmla="*/ 381000 h 1866900"/>
                <a:gd name="connsiteX156" fmla="*/ 1738312 w 1905000"/>
                <a:gd name="connsiteY156" fmla="*/ 381000 h 1866900"/>
                <a:gd name="connsiteX157" fmla="*/ 1744979 w 1905000"/>
                <a:gd name="connsiteY157" fmla="*/ 390525 h 1866900"/>
                <a:gd name="connsiteX158" fmla="*/ 160019 w 1905000"/>
                <a:gd name="connsiteY158" fmla="*/ 390525 h 1866900"/>
                <a:gd name="connsiteX159" fmla="*/ 166687 w 1905000"/>
                <a:gd name="connsiteY159" fmla="*/ 381000 h 1866900"/>
                <a:gd name="connsiteX160" fmla="*/ 201929 w 1905000"/>
                <a:gd name="connsiteY160" fmla="*/ 333375 h 1866900"/>
                <a:gd name="connsiteX161" fmla="*/ 1704022 w 1905000"/>
                <a:gd name="connsiteY161" fmla="*/ 333375 h 1866900"/>
                <a:gd name="connsiteX162" fmla="*/ 1711642 w 1905000"/>
                <a:gd name="connsiteY162" fmla="*/ 342900 h 1866900"/>
                <a:gd name="connsiteX163" fmla="*/ 194309 w 1905000"/>
                <a:gd name="connsiteY163" fmla="*/ 342900 h 1866900"/>
                <a:gd name="connsiteX164" fmla="*/ 201929 w 1905000"/>
                <a:gd name="connsiteY164" fmla="*/ 333375 h 1866900"/>
                <a:gd name="connsiteX165" fmla="*/ 240981 w 1905000"/>
                <a:gd name="connsiteY165" fmla="*/ 285750 h 1866900"/>
                <a:gd name="connsiteX166" fmla="*/ 1664017 w 1905000"/>
                <a:gd name="connsiteY166" fmla="*/ 285750 h 1866900"/>
                <a:gd name="connsiteX167" fmla="*/ 1672589 w 1905000"/>
                <a:gd name="connsiteY167" fmla="*/ 295275 h 1866900"/>
                <a:gd name="connsiteX168" fmla="*/ 232409 w 1905000"/>
                <a:gd name="connsiteY168" fmla="*/ 295275 h 1866900"/>
                <a:gd name="connsiteX169" fmla="*/ 240981 w 1905000"/>
                <a:gd name="connsiteY169" fmla="*/ 285750 h 1866900"/>
                <a:gd name="connsiteX170" fmla="*/ 286702 w 1905000"/>
                <a:gd name="connsiteY170" fmla="*/ 238125 h 1866900"/>
                <a:gd name="connsiteX171" fmla="*/ 1619250 w 1905000"/>
                <a:gd name="connsiteY171" fmla="*/ 238125 h 1866900"/>
                <a:gd name="connsiteX172" fmla="*/ 1628775 w 1905000"/>
                <a:gd name="connsiteY172" fmla="*/ 247650 h 1866900"/>
                <a:gd name="connsiteX173" fmla="*/ 277177 w 1905000"/>
                <a:gd name="connsiteY173" fmla="*/ 247650 h 1866900"/>
                <a:gd name="connsiteX174" fmla="*/ 286702 w 1905000"/>
                <a:gd name="connsiteY174" fmla="*/ 238125 h 1866900"/>
                <a:gd name="connsiteX175" fmla="*/ 339090 w 1905000"/>
                <a:gd name="connsiteY175" fmla="*/ 190500 h 1866900"/>
                <a:gd name="connsiteX176" fmla="*/ 1565910 w 1905000"/>
                <a:gd name="connsiteY176" fmla="*/ 190500 h 1866900"/>
                <a:gd name="connsiteX177" fmla="*/ 1577340 w 1905000"/>
                <a:gd name="connsiteY177" fmla="*/ 200025 h 1866900"/>
                <a:gd name="connsiteX178" fmla="*/ 327660 w 1905000"/>
                <a:gd name="connsiteY178" fmla="*/ 200025 h 1866900"/>
                <a:gd name="connsiteX179" fmla="*/ 339090 w 1905000"/>
                <a:gd name="connsiteY179" fmla="*/ 190500 h 1866900"/>
                <a:gd name="connsiteX180" fmla="*/ 400049 w 1905000"/>
                <a:gd name="connsiteY180" fmla="*/ 142875 h 1866900"/>
                <a:gd name="connsiteX181" fmla="*/ 1503997 w 1905000"/>
                <a:gd name="connsiteY181" fmla="*/ 142875 h 1866900"/>
                <a:gd name="connsiteX182" fmla="*/ 1517332 w 1905000"/>
                <a:gd name="connsiteY182" fmla="*/ 152400 h 1866900"/>
                <a:gd name="connsiteX183" fmla="*/ 386714 w 1905000"/>
                <a:gd name="connsiteY183" fmla="*/ 152400 h 1866900"/>
                <a:gd name="connsiteX184" fmla="*/ 400049 w 1905000"/>
                <a:gd name="connsiteY184" fmla="*/ 142875 h 1866900"/>
                <a:gd name="connsiteX185" fmla="*/ 474345 w 1905000"/>
                <a:gd name="connsiteY185" fmla="*/ 95250 h 1866900"/>
                <a:gd name="connsiteX186" fmla="*/ 1429702 w 1905000"/>
                <a:gd name="connsiteY186" fmla="*/ 95250 h 1866900"/>
                <a:gd name="connsiteX187" fmla="*/ 1445895 w 1905000"/>
                <a:gd name="connsiteY187" fmla="*/ 104775 h 1866900"/>
                <a:gd name="connsiteX188" fmla="*/ 458152 w 1905000"/>
                <a:gd name="connsiteY188" fmla="*/ 104775 h 1866900"/>
                <a:gd name="connsiteX189" fmla="*/ 474345 w 1905000"/>
                <a:gd name="connsiteY189" fmla="*/ 95250 h 1866900"/>
                <a:gd name="connsiteX190" fmla="*/ 568642 w 1905000"/>
                <a:gd name="connsiteY190" fmla="*/ 47625 h 1866900"/>
                <a:gd name="connsiteX191" fmla="*/ 1337309 w 1905000"/>
                <a:gd name="connsiteY191" fmla="*/ 47625 h 1866900"/>
                <a:gd name="connsiteX192" fmla="*/ 1358265 w 1905000"/>
                <a:gd name="connsiteY192" fmla="*/ 57150 h 1866900"/>
                <a:gd name="connsiteX193" fmla="*/ 547687 w 1905000"/>
                <a:gd name="connsiteY193" fmla="*/ 57150 h 1866900"/>
                <a:gd name="connsiteX194" fmla="*/ 568642 w 1905000"/>
                <a:gd name="connsiteY194" fmla="*/ 47625 h 1866900"/>
                <a:gd name="connsiteX195" fmla="*/ 702945 w 1905000"/>
                <a:gd name="connsiteY195" fmla="*/ 0 h 1866900"/>
                <a:gd name="connsiteX196" fmla="*/ 1203960 w 1905000"/>
                <a:gd name="connsiteY196" fmla="*/ 0 h 1866900"/>
                <a:gd name="connsiteX197" fmla="*/ 1236345 w 1905000"/>
                <a:gd name="connsiteY197" fmla="*/ 9525 h 1866900"/>
                <a:gd name="connsiteX198" fmla="*/ 670560 w 1905000"/>
                <a:gd name="connsiteY198" fmla="*/ 9525 h 1866900"/>
                <a:gd name="connsiteX199" fmla="*/ 702945 w 1905000"/>
                <a:gd name="connsiteY199" fmla="*/ 0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905000" h="1866900">
                  <a:moveTo>
                    <a:pt x="786764" y="1857375"/>
                  </a:moveTo>
                  <a:lnTo>
                    <a:pt x="1116329" y="1857375"/>
                  </a:lnTo>
                  <a:cubicBezTo>
                    <a:pt x="1093469" y="1861185"/>
                    <a:pt x="1070609" y="1864995"/>
                    <a:pt x="1047749" y="1866900"/>
                  </a:cubicBezTo>
                  <a:lnTo>
                    <a:pt x="855344" y="1866900"/>
                  </a:lnTo>
                  <a:cubicBezTo>
                    <a:pt x="832484" y="1864995"/>
                    <a:pt x="809624" y="1861185"/>
                    <a:pt x="786764" y="1857375"/>
                  </a:cubicBezTo>
                  <a:close/>
                  <a:moveTo>
                    <a:pt x="614362" y="1809750"/>
                  </a:moveTo>
                  <a:lnTo>
                    <a:pt x="1290637" y="1809750"/>
                  </a:lnTo>
                  <a:cubicBezTo>
                    <a:pt x="1281112" y="1812608"/>
                    <a:pt x="1272540" y="1816417"/>
                    <a:pt x="1263967" y="1819275"/>
                  </a:cubicBezTo>
                  <a:lnTo>
                    <a:pt x="640079" y="1819275"/>
                  </a:lnTo>
                  <a:cubicBezTo>
                    <a:pt x="631507" y="1816417"/>
                    <a:pt x="622935" y="1812608"/>
                    <a:pt x="614362" y="1809750"/>
                  </a:cubicBezTo>
                  <a:close/>
                  <a:moveTo>
                    <a:pt x="509587" y="1762125"/>
                  </a:moveTo>
                  <a:lnTo>
                    <a:pt x="1396365" y="1762125"/>
                  </a:lnTo>
                  <a:cubicBezTo>
                    <a:pt x="1389697" y="1764983"/>
                    <a:pt x="1383982" y="1768792"/>
                    <a:pt x="1377315" y="1771650"/>
                  </a:cubicBezTo>
                  <a:lnTo>
                    <a:pt x="527685" y="1771650"/>
                  </a:lnTo>
                  <a:cubicBezTo>
                    <a:pt x="521969" y="1768792"/>
                    <a:pt x="515302" y="1764983"/>
                    <a:pt x="509587" y="1762125"/>
                  </a:cubicBezTo>
                  <a:close/>
                  <a:moveTo>
                    <a:pt x="428625" y="1714500"/>
                  </a:moveTo>
                  <a:lnTo>
                    <a:pt x="1478280" y="1714500"/>
                  </a:lnTo>
                  <a:cubicBezTo>
                    <a:pt x="1472565" y="1717358"/>
                    <a:pt x="1467803" y="1721167"/>
                    <a:pt x="1463040" y="1724025"/>
                  </a:cubicBezTo>
                  <a:lnTo>
                    <a:pt x="443865" y="1724025"/>
                  </a:lnTo>
                  <a:cubicBezTo>
                    <a:pt x="438150" y="1721167"/>
                    <a:pt x="433388" y="1717358"/>
                    <a:pt x="428625" y="1714500"/>
                  </a:cubicBezTo>
                  <a:close/>
                  <a:moveTo>
                    <a:pt x="362902" y="1666875"/>
                  </a:moveTo>
                  <a:lnTo>
                    <a:pt x="1544002" y="1666875"/>
                  </a:lnTo>
                  <a:cubicBezTo>
                    <a:pt x="1540192" y="1669733"/>
                    <a:pt x="1535430" y="1673542"/>
                    <a:pt x="1531620" y="1676400"/>
                  </a:cubicBezTo>
                  <a:lnTo>
                    <a:pt x="375285" y="1676400"/>
                  </a:lnTo>
                  <a:cubicBezTo>
                    <a:pt x="370522" y="1673542"/>
                    <a:pt x="366712" y="1669733"/>
                    <a:pt x="362902" y="1666875"/>
                  </a:cubicBezTo>
                  <a:close/>
                  <a:moveTo>
                    <a:pt x="306705" y="1619250"/>
                  </a:moveTo>
                  <a:lnTo>
                    <a:pt x="1599247" y="1619250"/>
                  </a:lnTo>
                  <a:cubicBezTo>
                    <a:pt x="1595438" y="1622108"/>
                    <a:pt x="1592580" y="1625917"/>
                    <a:pt x="1588770" y="1628775"/>
                  </a:cubicBezTo>
                  <a:lnTo>
                    <a:pt x="317182" y="1628775"/>
                  </a:lnTo>
                  <a:cubicBezTo>
                    <a:pt x="313373" y="1625917"/>
                    <a:pt x="310515" y="1622108"/>
                    <a:pt x="306705" y="1619250"/>
                  </a:cubicBezTo>
                  <a:close/>
                  <a:moveTo>
                    <a:pt x="258127" y="1571625"/>
                  </a:moveTo>
                  <a:lnTo>
                    <a:pt x="1646872" y="1571625"/>
                  </a:lnTo>
                  <a:cubicBezTo>
                    <a:pt x="1643062" y="1574483"/>
                    <a:pt x="1640205" y="1578292"/>
                    <a:pt x="1637347" y="1581150"/>
                  </a:cubicBezTo>
                  <a:lnTo>
                    <a:pt x="266699" y="1581150"/>
                  </a:lnTo>
                  <a:cubicBezTo>
                    <a:pt x="263842" y="1578292"/>
                    <a:pt x="260984" y="1574483"/>
                    <a:pt x="258127" y="1571625"/>
                  </a:cubicBezTo>
                  <a:close/>
                  <a:moveTo>
                    <a:pt x="216217" y="1524000"/>
                  </a:moveTo>
                  <a:lnTo>
                    <a:pt x="1687830" y="1524000"/>
                  </a:lnTo>
                  <a:cubicBezTo>
                    <a:pt x="1684972" y="1526858"/>
                    <a:pt x="1683067" y="1530667"/>
                    <a:pt x="1680209" y="1533525"/>
                  </a:cubicBezTo>
                  <a:lnTo>
                    <a:pt x="223837" y="1533525"/>
                  </a:lnTo>
                  <a:cubicBezTo>
                    <a:pt x="221932" y="1530667"/>
                    <a:pt x="219074" y="1526858"/>
                    <a:pt x="216217" y="1524000"/>
                  </a:cubicBezTo>
                  <a:close/>
                  <a:moveTo>
                    <a:pt x="180022" y="1476375"/>
                  </a:moveTo>
                  <a:lnTo>
                    <a:pt x="1724977" y="1476375"/>
                  </a:lnTo>
                  <a:cubicBezTo>
                    <a:pt x="1723072" y="1479233"/>
                    <a:pt x="1720215" y="1483042"/>
                    <a:pt x="1718310" y="1485900"/>
                  </a:cubicBezTo>
                  <a:lnTo>
                    <a:pt x="186690" y="1485900"/>
                  </a:lnTo>
                  <a:cubicBezTo>
                    <a:pt x="184785" y="1483042"/>
                    <a:pt x="181927" y="1479233"/>
                    <a:pt x="180022" y="1476375"/>
                  </a:cubicBezTo>
                  <a:close/>
                  <a:moveTo>
                    <a:pt x="147637" y="1428750"/>
                  </a:moveTo>
                  <a:lnTo>
                    <a:pt x="1756410" y="1428750"/>
                  </a:lnTo>
                  <a:cubicBezTo>
                    <a:pt x="1754505" y="1431608"/>
                    <a:pt x="1752600" y="1435417"/>
                    <a:pt x="1750695" y="1438275"/>
                  </a:cubicBezTo>
                  <a:lnTo>
                    <a:pt x="153352" y="1438275"/>
                  </a:lnTo>
                  <a:cubicBezTo>
                    <a:pt x="151447" y="1435417"/>
                    <a:pt x="149542" y="1431608"/>
                    <a:pt x="147637" y="1428750"/>
                  </a:cubicBezTo>
                  <a:close/>
                  <a:moveTo>
                    <a:pt x="119062" y="1381125"/>
                  </a:moveTo>
                  <a:lnTo>
                    <a:pt x="1785937" y="1381125"/>
                  </a:lnTo>
                  <a:cubicBezTo>
                    <a:pt x="1784032" y="1383983"/>
                    <a:pt x="1782127" y="1387792"/>
                    <a:pt x="1780222" y="1390650"/>
                  </a:cubicBezTo>
                  <a:lnTo>
                    <a:pt x="124777" y="1390650"/>
                  </a:lnTo>
                  <a:cubicBezTo>
                    <a:pt x="122872" y="1387792"/>
                    <a:pt x="120967" y="1383983"/>
                    <a:pt x="119062" y="1381125"/>
                  </a:cubicBezTo>
                  <a:close/>
                  <a:moveTo>
                    <a:pt x="95250" y="1333500"/>
                  </a:moveTo>
                  <a:lnTo>
                    <a:pt x="1810703" y="1333500"/>
                  </a:lnTo>
                  <a:cubicBezTo>
                    <a:pt x="1808798" y="1336358"/>
                    <a:pt x="1807845" y="1340167"/>
                    <a:pt x="1805940" y="1343025"/>
                  </a:cubicBezTo>
                  <a:lnTo>
                    <a:pt x="100013" y="1343025"/>
                  </a:lnTo>
                  <a:cubicBezTo>
                    <a:pt x="98108" y="1340167"/>
                    <a:pt x="97155" y="1336358"/>
                    <a:pt x="95250" y="1333500"/>
                  </a:cubicBezTo>
                  <a:close/>
                  <a:moveTo>
                    <a:pt x="73342" y="1285875"/>
                  </a:moveTo>
                  <a:lnTo>
                    <a:pt x="1830705" y="1285875"/>
                  </a:lnTo>
                  <a:cubicBezTo>
                    <a:pt x="1829752" y="1288733"/>
                    <a:pt x="1827847" y="1292542"/>
                    <a:pt x="1826895" y="1295400"/>
                  </a:cubicBezTo>
                  <a:lnTo>
                    <a:pt x="77152" y="1295400"/>
                  </a:lnTo>
                  <a:cubicBezTo>
                    <a:pt x="76200" y="1292542"/>
                    <a:pt x="74295" y="1288733"/>
                    <a:pt x="73342" y="1285875"/>
                  </a:cubicBezTo>
                  <a:close/>
                  <a:moveTo>
                    <a:pt x="55245" y="1238250"/>
                  </a:moveTo>
                  <a:lnTo>
                    <a:pt x="1850708" y="1238250"/>
                  </a:lnTo>
                  <a:cubicBezTo>
                    <a:pt x="1848803" y="1241108"/>
                    <a:pt x="1847850" y="1244917"/>
                    <a:pt x="1846898" y="1247775"/>
                  </a:cubicBezTo>
                  <a:lnTo>
                    <a:pt x="59055" y="1247775"/>
                  </a:lnTo>
                  <a:cubicBezTo>
                    <a:pt x="57150" y="1244917"/>
                    <a:pt x="56197" y="1241108"/>
                    <a:pt x="55245" y="1238250"/>
                  </a:cubicBezTo>
                  <a:close/>
                  <a:moveTo>
                    <a:pt x="40004" y="1190625"/>
                  </a:moveTo>
                  <a:lnTo>
                    <a:pt x="1865947" y="1190625"/>
                  </a:lnTo>
                  <a:cubicBezTo>
                    <a:pt x="1864994" y="1193483"/>
                    <a:pt x="1864042" y="1197292"/>
                    <a:pt x="1863089" y="1200150"/>
                  </a:cubicBezTo>
                  <a:lnTo>
                    <a:pt x="42862" y="1200150"/>
                  </a:lnTo>
                  <a:cubicBezTo>
                    <a:pt x="41909" y="1197292"/>
                    <a:pt x="40957" y="1193483"/>
                    <a:pt x="40004" y="1190625"/>
                  </a:cubicBezTo>
                  <a:close/>
                  <a:moveTo>
                    <a:pt x="26669" y="1143000"/>
                  </a:moveTo>
                  <a:lnTo>
                    <a:pt x="1878329" y="1143000"/>
                  </a:lnTo>
                  <a:cubicBezTo>
                    <a:pt x="1878329" y="1145858"/>
                    <a:pt x="1877377" y="1149667"/>
                    <a:pt x="1876424" y="1152525"/>
                  </a:cubicBezTo>
                  <a:lnTo>
                    <a:pt x="29526" y="1152525"/>
                  </a:lnTo>
                  <a:cubicBezTo>
                    <a:pt x="28574" y="1149667"/>
                    <a:pt x="27622" y="1145858"/>
                    <a:pt x="26669" y="1143000"/>
                  </a:cubicBezTo>
                  <a:close/>
                  <a:moveTo>
                    <a:pt x="16192" y="1095375"/>
                  </a:moveTo>
                  <a:lnTo>
                    <a:pt x="1888807" y="1095375"/>
                  </a:lnTo>
                  <a:cubicBezTo>
                    <a:pt x="1887855" y="1098233"/>
                    <a:pt x="1887855" y="1102042"/>
                    <a:pt x="1886902" y="1104900"/>
                  </a:cubicBezTo>
                  <a:lnTo>
                    <a:pt x="18097" y="1104900"/>
                  </a:lnTo>
                  <a:cubicBezTo>
                    <a:pt x="17144" y="1102042"/>
                    <a:pt x="17144" y="1098233"/>
                    <a:pt x="16192" y="1095375"/>
                  </a:cubicBezTo>
                  <a:close/>
                  <a:moveTo>
                    <a:pt x="8572" y="1047750"/>
                  </a:moveTo>
                  <a:lnTo>
                    <a:pt x="1896427" y="1047750"/>
                  </a:lnTo>
                  <a:cubicBezTo>
                    <a:pt x="1896427" y="1050608"/>
                    <a:pt x="1895475" y="1054417"/>
                    <a:pt x="1895475" y="1057275"/>
                  </a:cubicBezTo>
                  <a:lnTo>
                    <a:pt x="9525" y="1057275"/>
                  </a:lnTo>
                  <a:cubicBezTo>
                    <a:pt x="9525" y="1054417"/>
                    <a:pt x="8572" y="1050608"/>
                    <a:pt x="8572" y="1047750"/>
                  </a:cubicBezTo>
                  <a:close/>
                  <a:moveTo>
                    <a:pt x="3810" y="1000125"/>
                  </a:moveTo>
                  <a:lnTo>
                    <a:pt x="1902143" y="1000125"/>
                  </a:lnTo>
                  <a:cubicBezTo>
                    <a:pt x="1902143" y="1002983"/>
                    <a:pt x="1901190" y="1006792"/>
                    <a:pt x="1901190" y="1009650"/>
                  </a:cubicBezTo>
                  <a:lnTo>
                    <a:pt x="4762" y="1009650"/>
                  </a:lnTo>
                  <a:cubicBezTo>
                    <a:pt x="4762" y="1006792"/>
                    <a:pt x="3810" y="1002983"/>
                    <a:pt x="3810" y="1000125"/>
                  </a:cubicBezTo>
                  <a:close/>
                  <a:moveTo>
                    <a:pt x="952" y="952500"/>
                  </a:moveTo>
                  <a:lnTo>
                    <a:pt x="1904047" y="952500"/>
                  </a:lnTo>
                  <a:cubicBezTo>
                    <a:pt x="1904047" y="955358"/>
                    <a:pt x="1904047" y="959167"/>
                    <a:pt x="1904047" y="962025"/>
                  </a:cubicBezTo>
                  <a:lnTo>
                    <a:pt x="952" y="962025"/>
                  </a:lnTo>
                  <a:cubicBezTo>
                    <a:pt x="952" y="959167"/>
                    <a:pt x="952" y="955358"/>
                    <a:pt x="952" y="952500"/>
                  </a:cubicBezTo>
                  <a:close/>
                  <a:moveTo>
                    <a:pt x="0" y="904875"/>
                  </a:moveTo>
                  <a:lnTo>
                    <a:pt x="1905000" y="904875"/>
                  </a:lnTo>
                  <a:cubicBezTo>
                    <a:pt x="1905000" y="907733"/>
                    <a:pt x="1905000" y="911542"/>
                    <a:pt x="1905000" y="914400"/>
                  </a:cubicBezTo>
                  <a:lnTo>
                    <a:pt x="0" y="914400"/>
                  </a:lnTo>
                  <a:cubicBezTo>
                    <a:pt x="0" y="911542"/>
                    <a:pt x="0" y="907733"/>
                    <a:pt x="0" y="904875"/>
                  </a:cubicBezTo>
                  <a:close/>
                  <a:moveTo>
                    <a:pt x="1905" y="857250"/>
                  </a:moveTo>
                  <a:lnTo>
                    <a:pt x="1902142" y="857250"/>
                  </a:lnTo>
                  <a:cubicBezTo>
                    <a:pt x="1903095" y="860108"/>
                    <a:pt x="1903095" y="863917"/>
                    <a:pt x="1903095" y="866775"/>
                  </a:cubicBezTo>
                  <a:lnTo>
                    <a:pt x="952" y="866775"/>
                  </a:lnTo>
                  <a:cubicBezTo>
                    <a:pt x="1905" y="863917"/>
                    <a:pt x="1905" y="860108"/>
                    <a:pt x="1905" y="857250"/>
                  </a:cubicBezTo>
                  <a:close/>
                  <a:moveTo>
                    <a:pt x="6667" y="809625"/>
                  </a:moveTo>
                  <a:lnTo>
                    <a:pt x="1899285" y="809625"/>
                  </a:lnTo>
                  <a:cubicBezTo>
                    <a:pt x="1899285" y="812483"/>
                    <a:pt x="1900238" y="816292"/>
                    <a:pt x="1900238" y="819150"/>
                  </a:cubicBezTo>
                  <a:lnTo>
                    <a:pt x="5715" y="819150"/>
                  </a:lnTo>
                  <a:cubicBezTo>
                    <a:pt x="5715" y="816292"/>
                    <a:pt x="6667" y="812483"/>
                    <a:pt x="6667" y="809625"/>
                  </a:cubicBezTo>
                  <a:close/>
                  <a:moveTo>
                    <a:pt x="13335" y="762000"/>
                  </a:moveTo>
                  <a:lnTo>
                    <a:pt x="1891665" y="762000"/>
                  </a:lnTo>
                  <a:cubicBezTo>
                    <a:pt x="1892618" y="764858"/>
                    <a:pt x="1892618" y="768667"/>
                    <a:pt x="1893570" y="771525"/>
                  </a:cubicBezTo>
                  <a:lnTo>
                    <a:pt x="11430" y="771525"/>
                  </a:lnTo>
                  <a:cubicBezTo>
                    <a:pt x="12382" y="768667"/>
                    <a:pt x="12382" y="764858"/>
                    <a:pt x="13335" y="762000"/>
                  </a:cubicBezTo>
                  <a:close/>
                  <a:moveTo>
                    <a:pt x="21907" y="714375"/>
                  </a:moveTo>
                  <a:lnTo>
                    <a:pt x="1883092" y="714375"/>
                  </a:lnTo>
                  <a:cubicBezTo>
                    <a:pt x="1884045" y="717233"/>
                    <a:pt x="1884045" y="721042"/>
                    <a:pt x="1884997" y="723900"/>
                  </a:cubicBezTo>
                  <a:lnTo>
                    <a:pt x="20002" y="723900"/>
                  </a:lnTo>
                  <a:cubicBezTo>
                    <a:pt x="20955" y="721042"/>
                    <a:pt x="20955" y="717233"/>
                    <a:pt x="21907" y="714375"/>
                  </a:cubicBezTo>
                  <a:close/>
                  <a:moveTo>
                    <a:pt x="34289" y="666750"/>
                  </a:moveTo>
                  <a:lnTo>
                    <a:pt x="1870710" y="666750"/>
                  </a:lnTo>
                  <a:cubicBezTo>
                    <a:pt x="1871662" y="669608"/>
                    <a:pt x="1872615" y="673417"/>
                    <a:pt x="1873567" y="676275"/>
                  </a:cubicBezTo>
                  <a:lnTo>
                    <a:pt x="31432" y="676275"/>
                  </a:lnTo>
                  <a:cubicBezTo>
                    <a:pt x="32385" y="673417"/>
                    <a:pt x="33337" y="669608"/>
                    <a:pt x="34289" y="666750"/>
                  </a:cubicBezTo>
                  <a:close/>
                  <a:moveTo>
                    <a:pt x="48577" y="619125"/>
                  </a:moveTo>
                  <a:lnTo>
                    <a:pt x="1857375" y="619125"/>
                  </a:lnTo>
                  <a:cubicBezTo>
                    <a:pt x="1858328" y="621983"/>
                    <a:pt x="1859280" y="625792"/>
                    <a:pt x="1860233" y="628650"/>
                  </a:cubicBezTo>
                  <a:lnTo>
                    <a:pt x="45720" y="628650"/>
                  </a:lnTo>
                  <a:cubicBezTo>
                    <a:pt x="46672" y="625792"/>
                    <a:pt x="47625" y="621983"/>
                    <a:pt x="48577" y="619125"/>
                  </a:cubicBezTo>
                  <a:close/>
                  <a:moveTo>
                    <a:pt x="65722" y="571500"/>
                  </a:moveTo>
                  <a:lnTo>
                    <a:pt x="1839277" y="571500"/>
                  </a:lnTo>
                  <a:cubicBezTo>
                    <a:pt x="1840230" y="574357"/>
                    <a:pt x="1842135" y="578168"/>
                    <a:pt x="1843087" y="581025"/>
                  </a:cubicBezTo>
                  <a:lnTo>
                    <a:pt x="61912" y="581025"/>
                  </a:lnTo>
                  <a:cubicBezTo>
                    <a:pt x="62864" y="578168"/>
                    <a:pt x="64770" y="574357"/>
                    <a:pt x="65722" y="571500"/>
                  </a:cubicBezTo>
                  <a:close/>
                  <a:moveTo>
                    <a:pt x="85725" y="523875"/>
                  </a:moveTo>
                  <a:lnTo>
                    <a:pt x="1819275" y="523875"/>
                  </a:lnTo>
                  <a:cubicBezTo>
                    <a:pt x="1820227" y="526732"/>
                    <a:pt x="1822132" y="530543"/>
                    <a:pt x="1823085" y="533400"/>
                  </a:cubicBezTo>
                  <a:lnTo>
                    <a:pt x="80962" y="533400"/>
                  </a:lnTo>
                  <a:cubicBezTo>
                    <a:pt x="82867" y="530543"/>
                    <a:pt x="83820" y="526732"/>
                    <a:pt x="85725" y="523875"/>
                  </a:cubicBezTo>
                  <a:close/>
                  <a:moveTo>
                    <a:pt x="109538" y="476250"/>
                  </a:moveTo>
                  <a:lnTo>
                    <a:pt x="1796415" y="476250"/>
                  </a:lnTo>
                  <a:cubicBezTo>
                    <a:pt x="1798320" y="479107"/>
                    <a:pt x="1799273" y="482918"/>
                    <a:pt x="1801178" y="485775"/>
                  </a:cubicBezTo>
                  <a:lnTo>
                    <a:pt x="104775" y="485775"/>
                  </a:lnTo>
                  <a:cubicBezTo>
                    <a:pt x="105728" y="482918"/>
                    <a:pt x="107633" y="479107"/>
                    <a:pt x="109538" y="476250"/>
                  </a:cubicBezTo>
                  <a:close/>
                  <a:moveTo>
                    <a:pt x="136207" y="428625"/>
                  </a:moveTo>
                  <a:lnTo>
                    <a:pt x="1768792" y="428625"/>
                  </a:lnTo>
                  <a:cubicBezTo>
                    <a:pt x="1770697" y="431482"/>
                    <a:pt x="1772602" y="435293"/>
                    <a:pt x="1774507" y="438150"/>
                  </a:cubicBezTo>
                  <a:lnTo>
                    <a:pt x="130492" y="438150"/>
                  </a:lnTo>
                  <a:cubicBezTo>
                    <a:pt x="132397" y="435293"/>
                    <a:pt x="134302" y="431482"/>
                    <a:pt x="136207" y="428625"/>
                  </a:cubicBezTo>
                  <a:close/>
                  <a:moveTo>
                    <a:pt x="166687" y="381000"/>
                  </a:moveTo>
                  <a:lnTo>
                    <a:pt x="1738312" y="381000"/>
                  </a:lnTo>
                  <a:cubicBezTo>
                    <a:pt x="1741169" y="383857"/>
                    <a:pt x="1743074" y="387668"/>
                    <a:pt x="1744979" y="390525"/>
                  </a:cubicBezTo>
                  <a:lnTo>
                    <a:pt x="160019" y="390525"/>
                  </a:lnTo>
                  <a:cubicBezTo>
                    <a:pt x="162877" y="387668"/>
                    <a:pt x="164782" y="383857"/>
                    <a:pt x="166687" y="381000"/>
                  </a:cubicBezTo>
                  <a:close/>
                  <a:moveTo>
                    <a:pt x="201929" y="333375"/>
                  </a:moveTo>
                  <a:lnTo>
                    <a:pt x="1704022" y="333375"/>
                  </a:lnTo>
                  <a:cubicBezTo>
                    <a:pt x="1706879" y="336232"/>
                    <a:pt x="1708784" y="340043"/>
                    <a:pt x="1711642" y="342900"/>
                  </a:cubicBezTo>
                  <a:lnTo>
                    <a:pt x="194309" y="342900"/>
                  </a:lnTo>
                  <a:cubicBezTo>
                    <a:pt x="197167" y="340043"/>
                    <a:pt x="199072" y="336232"/>
                    <a:pt x="201929" y="333375"/>
                  </a:cubicBezTo>
                  <a:close/>
                  <a:moveTo>
                    <a:pt x="240981" y="285750"/>
                  </a:moveTo>
                  <a:lnTo>
                    <a:pt x="1664017" y="285750"/>
                  </a:lnTo>
                  <a:cubicBezTo>
                    <a:pt x="1666874" y="288607"/>
                    <a:pt x="1669732" y="292418"/>
                    <a:pt x="1672589" y="295275"/>
                  </a:cubicBezTo>
                  <a:lnTo>
                    <a:pt x="232409" y="295275"/>
                  </a:lnTo>
                  <a:cubicBezTo>
                    <a:pt x="235267" y="292418"/>
                    <a:pt x="238124" y="288607"/>
                    <a:pt x="240981" y="285750"/>
                  </a:cubicBezTo>
                  <a:close/>
                  <a:moveTo>
                    <a:pt x="286702" y="238125"/>
                  </a:moveTo>
                  <a:lnTo>
                    <a:pt x="1619250" y="238125"/>
                  </a:lnTo>
                  <a:cubicBezTo>
                    <a:pt x="1622107" y="240982"/>
                    <a:pt x="1625917" y="244793"/>
                    <a:pt x="1628775" y="247650"/>
                  </a:cubicBezTo>
                  <a:lnTo>
                    <a:pt x="277177" y="247650"/>
                  </a:lnTo>
                  <a:cubicBezTo>
                    <a:pt x="280034" y="244793"/>
                    <a:pt x="282892" y="240982"/>
                    <a:pt x="286702" y="238125"/>
                  </a:cubicBezTo>
                  <a:close/>
                  <a:moveTo>
                    <a:pt x="339090" y="190500"/>
                  </a:moveTo>
                  <a:lnTo>
                    <a:pt x="1565910" y="190500"/>
                  </a:lnTo>
                  <a:cubicBezTo>
                    <a:pt x="1569720" y="193357"/>
                    <a:pt x="1573530" y="197168"/>
                    <a:pt x="1577340" y="200025"/>
                  </a:cubicBezTo>
                  <a:lnTo>
                    <a:pt x="327660" y="200025"/>
                  </a:lnTo>
                  <a:cubicBezTo>
                    <a:pt x="331470" y="197168"/>
                    <a:pt x="335280" y="193357"/>
                    <a:pt x="339090" y="190500"/>
                  </a:cubicBezTo>
                  <a:close/>
                  <a:moveTo>
                    <a:pt x="400049" y="142875"/>
                  </a:moveTo>
                  <a:lnTo>
                    <a:pt x="1503997" y="142875"/>
                  </a:lnTo>
                  <a:cubicBezTo>
                    <a:pt x="1508759" y="145733"/>
                    <a:pt x="1512569" y="149542"/>
                    <a:pt x="1517332" y="152400"/>
                  </a:cubicBezTo>
                  <a:lnTo>
                    <a:pt x="386714" y="152400"/>
                  </a:lnTo>
                  <a:cubicBezTo>
                    <a:pt x="391477" y="149542"/>
                    <a:pt x="395287" y="145733"/>
                    <a:pt x="400049" y="142875"/>
                  </a:cubicBezTo>
                  <a:close/>
                  <a:moveTo>
                    <a:pt x="474345" y="95250"/>
                  </a:moveTo>
                  <a:lnTo>
                    <a:pt x="1429702" y="95250"/>
                  </a:lnTo>
                  <a:cubicBezTo>
                    <a:pt x="1435417" y="98108"/>
                    <a:pt x="1440180" y="101917"/>
                    <a:pt x="1445895" y="104775"/>
                  </a:cubicBezTo>
                  <a:lnTo>
                    <a:pt x="458152" y="104775"/>
                  </a:lnTo>
                  <a:cubicBezTo>
                    <a:pt x="463867" y="101917"/>
                    <a:pt x="468630" y="98108"/>
                    <a:pt x="474345" y="95250"/>
                  </a:cubicBezTo>
                  <a:close/>
                  <a:moveTo>
                    <a:pt x="568642" y="47625"/>
                  </a:moveTo>
                  <a:lnTo>
                    <a:pt x="1337309" y="47625"/>
                  </a:lnTo>
                  <a:cubicBezTo>
                    <a:pt x="1343977" y="50483"/>
                    <a:pt x="1351597" y="54292"/>
                    <a:pt x="1358265" y="57150"/>
                  </a:cubicBezTo>
                  <a:lnTo>
                    <a:pt x="547687" y="57150"/>
                  </a:lnTo>
                  <a:cubicBezTo>
                    <a:pt x="554355" y="54292"/>
                    <a:pt x="561975" y="50483"/>
                    <a:pt x="568642" y="47625"/>
                  </a:cubicBezTo>
                  <a:close/>
                  <a:moveTo>
                    <a:pt x="702945" y="0"/>
                  </a:moveTo>
                  <a:lnTo>
                    <a:pt x="1203960" y="0"/>
                  </a:lnTo>
                  <a:cubicBezTo>
                    <a:pt x="1214438" y="2858"/>
                    <a:pt x="1225867" y="5715"/>
                    <a:pt x="1236345" y="9525"/>
                  </a:cubicBezTo>
                  <a:lnTo>
                    <a:pt x="670560" y="9525"/>
                  </a:lnTo>
                  <a:cubicBezTo>
                    <a:pt x="681037" y="5715"/>
                    <a:pt x="692467" y="2858"/>
                    <a:pt x="702945" y="0"/>
                  </a:cubicBezTo>
                  <a:close/>
                </a:path>
              </a:pathLst>
            </a:custGeom>
            <a:grpFill/>
            <a:ln w="14015" cap="flat">
              <a:noFill/>
              <a:prstDash val="solid"/>
              <a:miter/>
            </a:ln>
          </p:spPr>
          <p:txBody>
            <a:bodyPr rtlCol="0" anchor="ctr"/>
            <a:lstStyle/>
            <a:p>
              <a:pPr lvl="0"/>
              <a:endParaRPr lang="zh-CN" altLang="en-US"/>
            </a:p>
          </p:txBody>
        </p:sp>
        <p:sp>
          <p:nvSpPr>
            <p:cNvPr id="8" name="任意多边形: 形状 7">
              <a:extLst>
                <a:ext uri="{FF2B5EF4-FFF2-40B4-BE49-F238E27FC236}">
                  <a16:creationId xmlns:a16="http://schemas.microsoft.com/office/drawing/2014/main" xmlns:p14="http://schemas.microsoft.com/office/powerpoint/2010/main" xmlns:ahyp="http://schemas.microsoft.com/office/drawing/2018/hyperlinkcolor" xmlns="" id="{B12EC4E2-8D6F-42F4-9502-A731433702A2}"/>
                </a:ext>
              </a:extLst>
            </p:cNvPr>
            <p:cNvSpPr/>
            <p:nvPr/>
          </p:nvSpPr>
          <p:spPr>
            <a:xfrm>
              <a:off x="9421670" y="0"/>
              <a:ext cx="2770331" cy="1398732"/>
            </a:xfrm>
            <a:custGeom>
              <a:avLst/>
              <a:gdLst>
                <a:gd name="connsiteX0" fmla="*/ 685 w 2770331"/>
                <a:gd name="connsiteY0" fmla="*/ 0 h 1398732"/>
                <a:gd name="connsiteX1" fmla="*/ 2769647 w 2770331"/>
                <a:gd name="connsiteY1" fmla="*/ 0 h 1398732"/>
                <a:gd name="connsiteX2" fmla="*/ 2770331 w 2770331"/>
                <a:gd name="connsiteY2" fmla="*/ 13546 h 1398732"/>
                <a:gd name="connsiteX3" fmla="*/ 2770331 w 2770331"/>
                <a:gd name="connsiteY3" fmla="*/ 13586 h 1398732"/>
                <a:gd name="connsiteX4" fmla="*/ 2763181 w 2770331"/>
                <a:gd name="connsiteY4" fmla="*/ 155191 h 1398732"/>
                <a:gd name="connsiteX5" fmla="*/ 1385167 w 2770331"/>
                <a:gd name="connsiteY5" fmla="*/ 1398732 h 1398732"/>
                <a:gd name="connsiteX6" fmla="*/ 0 w 2770331"/>
                <a:gd name="connsiteY6" fmla="*/ 13566 h 1398732"/>
                <a:gd name="connsiteX7" fmla="*/ 685 w 2770331"/>
                <a:gd name="connsiteY7" fmla="*/ 0 h 139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0331" h="1398732">
                  <a:moveTo>
                    <a:pt x="685" y="0"/>
                  </a:moveTo>
                  <a:lnTo>
                    <a:pt x="2769647" y="0"/>
                  </a:lnTo>
                  <a:lnTo>
                    <a:pt x="2770331" y="13546"/>
                  </a:lnTo>
                  <a:lnTo>
                    <a:pt x="2770331" y="13586"/>
                  </a:lnTo>
                  <a:lnTo>
                    <a:pt x="2763181" y="155191"/>
                  </a:lnTo>
                  <a:cubicBezTo>
                    <a:pt x="2692246" y="853670"/>
                    <a:pt x="2102359" y="1398732"/>
                    <a:pt x="1385167" y="1398732"/>
                  </a:cubicBezTo>
                  <a:cubicBezTo>
                    <a:pt x="620160" y="1398732"/>
                    <a:pt x="0" y="778572"/>
                    <a:pt x="0" y="13566"/>
                  </a:cubicBezTo>
                  <a:lnTo>
                    <a:pt x="685" y="0"/>
                  </a:lnTo>
                  <a:close/>
                </a:path>
              </a:pathLst>
            </a:custGeom>
            <a:grpFill/>
            <a:ln w="11088" cap="flat">
              <a:noFill/>
              <a:prstDash val="solid"/>
              <a:miter/>
            </a:ln>
          </p:spPr>
          <p:txBody>
            <a:bodyPr rtlCol="0" anchor="ctr"/>
            <a:lstStyle/>
            <a:p>
              <a:pPr lvl="0"/>
              <a:endParaRPr lang="zh-CN" altLang="en-US"/>
            </a:p>
          </p:txBody>
        </p:sp>
        <p:sp>
          <p:nvSpPr>
            <p:cNvPr id="9" name="任意多边形: 形状 8">
              <a:extLst>
                <a:ext uri="{FF2B5EF4-FFF2-40B4-BE49-F238E27FC236}">
                  <a16:creationId xmlns:a16="http://schemas.microsoft.com/office/drawing/2014/main" xmlns:p14="http://schemas.microsoft.com/office/powerpoint/2010/main" xmlns:ahyp="http://schemas.microsoft.com/office/drawing/2018/hyperlinkcolor" xmlns="" id="{2D272403-40BD-427A-A3AF-22CDE281BD98}"/>
                </a:ext>
              </a:extLst>
            </p:cNvPr>
            <p:cNvSpPr/>
            <p:nvPr/>
          </p:nvSpPr>
          <p:spPr>
            <a:xfrm>
              <a:off x="5252643" y="3384444"/>
              <a:ext cx="4217150" cy="3473556"/>
            </a:xfrm>
            <a:custGeom>
              <a:avLst/>
              <a:gdLst>
                <a:gd name="connsiteX0" fmla="*/ 2852892 w 4217150"/>
                <a:gd name="connsiteY0" fmla="*/ 466 h 3473556"/>
                <a:gd name="connsiteX1" fmla="*/ 3516107 w 4217150"/>
                <a:gd name="connsiteY1" fmla="*/ 187901 h 3473556"/>
                <a:gd name="connsiteX2" fmla="*/ 4029249 w 4217150"/>
                <a:gd name="connsiteY2" fmla="*/ 2103072 h 3473556"/>
                <a:gd name="connsiteX3" fmla="*/ 3237888 w 4217150"/>
                <a:gd name="connsiteY3" fmla="*/ 3473556 h 3473556"/>
                <a:gd name="connsiteX4" fmla="*/ 0 w 4217150"/>
                <a:gd name="connsiteY4" fmla="*/ 3473556 h 3473556"/>
                <a:gd name="connsiteX5" fmla="*/ 1600936 w 4217150"/>
                <a:gd name="connsiteY5" fmla="*/ 701044 h 3473556"/>
                <a:gd name="connsiteX6" fmla="*/ 2852892 w 4217150"/>
                <a:gd name="connsiteY6" fmla="*/ 466 h 347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7150" h="3473556">
                  <a:moveTo>
                    <a:pt x="2852892" y="466"/>
                  </a:moveTo>
                  <a:cubicBezTo>
                    <a:pt x="3078904" y="6295"/>
                    <a:pt x="3306679" y="66976"/>
                    <a:pt x="3516107" y="187901"/>
                  </a:cubicBezTo>
                  <a:cubicBezTo>
                    <a:pt x="4186277" y="574861"/>
                    <a:pt x="4416209" y="1432902"/>
                    <a:pt x="4029249" y="2103072"/>
                  </a:cubicBezTo>
                  <a:lnTo>
                    <a:pt x="3237888" y="3473556"/>
                  </a:lnTo>
                  <a:lnTo>
                    <a:pt x="0" y="3473556"/>
                  </a:lnTo>
                  <a:lnTo>
                    <a:pt x="1600936" y="701044"/>
                  </a:lnTo>
                  <a:cubicBezTo>
                    <a:pt x="1866971" y="240302"/>
                    <a:pt x="2355666" y="-12359"/>
                    <a:pt x="2852892" y="466"/>
                  </a:cubicBezTo>
                  <a:close/>
                </a:path>
              </a:pathLst>
            </a:custGeom>
            <a:grpFill/>
            <a:ln w="14015" cap="flat">
              <a:noFill/>
              <a:prstDash val="solid"/>
              <a:miter/>
            </a:ln>
          </p:spPr>
          <p:txBody>
            <a:bodyPr rtlCol="0" anchor="ctr"/>
            <a:lstStyle/>
            <a:p>
              <a:pPr lvl="0"/>
              <a:endParaRPr lang="zh-CN" altLang="en-US"/>
            </a:p>
          </p:txBody>
        </p:sp>
      </p:grpSp>
    </p:spTree>
    <p:custDataLst>
      <p:tags r:id="rId1"/>
    </p:custDataLst>
    <p:extLst>
      <p:ext uri="{BB962C8B-B14F-4D97-AF65-F5344CB8AC3E}">
        <p14:creationId xmlns:p14="http://schemas.microsoft.com/office/powerpoint/2010/main" val="32975213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05" name="文本框 604">
            <a:extLst>
              <a:ext uri="{FF2B5EF4-FFF2-40B4-BE49-F238E27FC236}">
                <a16:creationId xmlns:a16="http://schemas.microsoft.com/office/drawing/2014/main" xmlns:p14="http://schemas.microsoft.com/office/powerpoint/2010/main" xmlns:a14="http://schemas.microsoft.com/office/drawing/2010/main" xmlns="" id="{5CCDB481-C962-47F4-881B-6DD1C2002730}"/>
              </a:ext>
            </a:extLst>
          </p:cNvPr>
          <p:cNvSpPr txBox="1"/>
          <p:nvPr/>
        </p:nvSpPr>
        <p:spPr>
          <a:xfrm>
            <a:off x="985798" y="5464421"/>
            <a:ext cx="2558947" cy="400110"/>
          </a:xfrm>
          <a:prstGeom prst="rect">
            <a:avLst/>
          </a:prstGeom>
          <a:noFill/>
        </p:spPr>
        <p:txBody>
          <a:bodyPr wrap="square" rtlCol="0" anchor="ctr">
            <a:spAutoFit/>
          </a:bodyPr>
          <a:lstStyle/>
          <a:p>
            <a:r>
              <a:rPr lang="zh-CN" altLang="en-US" sz="1000" dirty="0">
                <a:solidFill>
                  <a:srgbClr val="2F2F2F"/>
                </a:solidFill>
              </a:rPr>
              <a:t>使用 </a:t>
            </a:r>
            <a:r>
              <a:rPr lang="en-US" altLang="zh-CN" sz="1000" dirty="0" err="1">
                <a:solidFill>
                  <a:srgbClr val="2F2F2F"/>
                </a:solidFill>
              </a:rPr>
              <a:t>iSlide</a:t>
            </a:r>
            <a:r>
              <a:rPr lang="en-US" altLang="zh-CN" sz="1000" dirty="0">
                <a:solidFill>
                  <a:srgbClr val="2F2F2F"/>
                </a:solidFill>
              </a:rPr>
              <a:t>【</a:t>
            </a:r>
            <a:r>
              <a:rPr lang="zh-CN" altLang="en-US" sz="1000" dirty="0">
                <a:solidFill>
                  <a:srgbClr val="2F2F2F"/>
                </a:solidFill>
              </a:rPr>
              <a:t>图示库</a:t>
            </a:r>
            <a:r>
              <a:rPr lang="en-US" altLang="zh-CN" sz="1000" dirty="0">
                <a:solidFill>
                  <a:srgbClr val="2F2F2F"/>
                </a:solidFill>
              </a:rPr>
              <a:t>】</a:t>
            </a:r>
            <a:r>
              <a:rPr lang="zh-CN" altLang="en-US" sz="1000" dirty="0">
                <a:solidFill>
                  <a:srgbClr val="2F2F2F"/>
                </a:solidFill>
              </a:rPr>
              <a:t>筛选图示</a:t>
            </a:r>
            <a:endParaRPr lang="en-US" altLang="zh-CN" sz="1000" dirty="0">
              <a:solidFill>
                <a:srgbClr val="2F2F2F"/>
              </a:solidFill>
            </a:endParaRPr>
          </a:p>
          <a:p>
            <a:r>
              <a:rPr lang="en-US" altLang="zh-CN" sz="1000" dirty="0">
                <a:solidFill>
                  <a:srgbClr val="2F2F2F"/>
                </a:solidFill>
              </a:rPr>
              <a:t>Search diagrams </a:t>
            </a:r>
            <a:r>
              <a:rPr lang="en-US" altLang="zh-CN" sz="1000">
                <a:solidFill>
                  <a:srgbClr val="2F2F2F"/>
                </a:solidFill>
              </a:rPr>
              <a:t>in </a:t>
            </a:r>
            <a:r>
              <a:rPr lang="en-US" altLang="zh-CN" sz="100" smtClean="0">
                <a:solidFill>
                  <a:srgbClr val="2F2F2F"/>
                </a:solidFill>
              </a:rPr>
              <a:t> </a:t>
            </a:r>
            <a:r>
              <a:rPr lang="en-US" altLang="zh-CN" sz="1000" smtClean="0">
                <a:solidFill>
                  <a:srgbClr val="2F2F2F"/>
                </a:solidFill>
              </a:rPr>
              <a:t>iSlide </a:t>
            </a:r>
            <a:r>
              <a:rPr lang="en-US" altLang="zh-CN" sz="1000" dirty="0">
                <a:solidFill>
                  <a:srgbClr val="2F2F2F"/>
                </a:solidFill>
              </a:rPr>
              <a:t>Diagram Library</a:t>
            </a:r>
            <a:endParaRPr lang="zh-CN" altLang="en-US" sz="1000" dirty="0">
              <a:solidFill>
                <a:srgbClr val="2F2F2F"/>
              </a:solidFill>
            </a:endParaRPr>
          </a:p>
        </p:txBody>
      </p:sp>
      <p:sp>
        <p:nvSpPr>
          <p:cNvPr id="606" name="椭圆 605">
            <a:extLst>
              <a:ext uri="{FF2B5EF4-FFF2-40B4-BE49-F238E27FC236}">
                <a16:creationId xmlns:a16="http://schemas.microsoft.com/office/drawing/2014/main" xmlns:p14="http://schemas.microsoft.com/office/powerpoint/2010/main" xmlns:a14="http://schemas.microsoft.com/office/drawing/2010/main" xmlns="" id="{BBAFAFCE-AD85-4ED5-894D-028379A54ED7}"/>
              </a:ext>
            </a:extLst>
          </p:cNvPr>
          <p:cNvSpPr/>
          <p:nvPr/>
        </p:nvSpPr>
        <p:spPr>
          <a:xfrm>
            <a:off x="660400" y="5526305"/>
            <a:ext cx="276343" cy="276341"/>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sp>
        <p:nvSpPr>
          <p:cNvPr id="608" name="文本框 607">
            <a:extLst>
              <a:ext uri="{FF2B5EF4-FFF2-40B4-BE49-F238E27FC236}">
                <a16:creationId xmlns:a16="http://schemas.microsoft.com/office/drawing/2014/main" xmlns:p14="http://schemas.microsoft.com/office/powerpoint/2010/main" xmlns:a14="http://schemas.microsoft.com/office/drawing/2010/main" xmlns="" id="{E808DBD7-0F1A-4037-9699-410F7A953BB4}"/>
              </a:ext>
            </a:extLst>
          </p:cNvPr>
          <p:cNvSpPr txBox="1"/>
          <p:nvPr/>
        </p:nvSpPr>
        <p:spPr>
          <a:xfrm>
            <a:off x="4677199" y="5464437"/>
            <a:ext cx="5284056" cy="400110"/>
          </a:xfrm>
          <a:prstGeom prst="rect">
            <a:avLst/>
          </a:prstGeom>
          <a:noFill/>
        </p:spPr>
        <p:txBody>
          <a:bodyPr wrap="square" rtlCol="0" anchor="ctr">
            <a:spAutoFit/>
          </a:bodyPr>
          <a:lstStyle/>
          <a:p>
            <a:r>
              <a:rPr lang="zh-CN" altLang="en-US" sz="1000" dirty="0">
                <a:solidFill>
                  <a:srgbClr val="2F2F2F"/>
                </a:solidFill>
              </a:rPr>
              <a:t>选择图示插入当前 </a:t>
            </a:r>
            <a:r>
              <a:rPr lang="en-US" altLang="zh-CN" sz="1000" dirty="0">
                <a:solidFill>
                  <a:srgbClr val="2F2F2F"/>
                </a:solidFill>
              </a:rPr>
              <a:t>PPT </a:t>
            </a:r>
            <a:r>
              <a:rPr lang="zh-CN" altLang="en-US" sz="1000" dirty="0">
                <a:solidFill>
                  <a:srgbClr val="2F2F2F"/>
                </a:solidFill>
              </a:rPr>
              <a:t>主题，编辑修改文字，替换图标或填充图片</a:t>
            </a:r>
            <a:endParaRPr lang="en-US" altLang="zh-CN" sz="1000" dirty="0">
              <a:solidFill>
                <a:srgbClr val="2F2F2F"/>
              </a:solidFill>
            </a:endParaRPr>
          </a:p>
          <a:p>
            <a:r>
              <a:rPr lang="en-US" altLang="zh-CN" sz="1000" dirty="0">
                <a:solidFill>
                  <a:srgbClr val="2F2F2F"/>
                </a:solidFill>
              </a:rPr>
              <a:t>Click to insert </a:t>
            </a:r>
            <a:r>
              <a:rPr lang="en-US" altLang="zh-CN" sz="1000">
                <a:solidFill>
                  <a:srgbClr val="2F2F2F"/>
                </a:solidFill>
              </a:rPr>
              <a:t>diagram </a:t>
            </a:r>
            <a:r>
              <a:rPr lang="en-US" altLang="zh-CN" sz="1000" smtClean="0">
                <a:solidFill>
                  <a:srgbClr val="2F2F2F"/>
                </a:solidFill>
              </a:rPr>
              <a:t>int</a:t>
            </a:r>
            <a:r>
              <a:rPr lang="en-US" altLang="zh-CN" sz="100" smtClean="0">
                <a:solidFill>
                  <a:srgbClr val="2F2F2F"/>
                </a:solidFill>
              </a:rPr>
              <a:t> </a:t>
            </a:r>
            <a:r>
              <a:rPr lang="en-US" altLang="zh-CN" sz="1000" smtClean="0">
                <a:solidFill>
                  <a:srgbClr val="2F2F2F"/>
                </a:solidFill>
              </a:rPr>
              <a:t>o </a:t>
            </a:r>
            <a:r>
              <a:rPr lang="en-US" altLang="zh-CN" sz="1000" dirty="0">
                <a:solidFill>
                  <a:srgbClr val="2F2F2F"/>
                </a:solidFill>
              </a:rPr>
              <a:t>current slide, then edit text, replace icons or fill pictures</a:t>
            </a:r>
            <a:endParaRPr lang="zh-CN" altLang="en-US" sz="1000" dirty="0">
              <a:solidFill>
                <a:srgbClr val="2F2F2F"/>
              </a:solidFill>
            </a:endParaRPr>
          </a:p>
        </p:txBody>
      </p:sp>
      <p:sp>
        <p:nvSpPr>
          <p:cNvPr id="609" name="椭圆 608">
            <a:extLst>
              <a:ext uri="{FF2B5EF4-FFF2-40B4-BE49-F238E27FC236}">
                <a16:creationId xmlns:a16="http://schemas.microsoft.com/office/drawing/2014/main" xmlns:p14="http://schemas.microsoft.com/office/powerpoint/2010/main" xmlns:a14="http://schemas.microsoft.com/office/drawing/2010/main" xmlns="" id="{42B1532E-6800-4DB7-A456-55C6D9651A6A}"/>
              </a:ext>
            </a:extLst>
          </p:cNvPr>
          <p:cNvSpPr/>
          <p:nvPr/>
        </p:nvSpPr>
        <p:spPr>
          <a:xfrm>
            <a:off x="4355743" y="5526320"/>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grpSp>
        <p:nvGrpSpPr>
          <p:cNvPr id="199" name="组合 198">
            <a:extLst>
              <a:ext uri="{FF2B5EF4-FFF2-40B4-BE49-F238E27FC236}">
                <a16:creationId xmlns:a16="http://schemas.microsoft.com/office/drawing/2014/main" xmlns:p14="http://schemas.microsoft.com/office/powerpoint/2010/main" xmlns:a14="http://schemas.microsoft.com/office/drawing/2010/main" xmlns="" id="{20144B8B-CD16-47CC-9F33-4C1C08CF978C}"/>
              </a:ext>
            </a:extLst>
          </p:cNvPr>
          <p:cNvGrpSpPr/>
          <p:nvPr/>
        </p:nvGrpSpPr>
        <p:grpSpPr>
          <a:xfrm>
            <a:off x="660400" y="1959182"/>
            <a:ext cx="3002400" cy="3002401"/>
            <a:chOff x="677034" y="1959176"/>
            <a:chExt cx="3002400" cy="3002401"/>
          </a:xfrm>
        </p:grpSpPr>
        <p:sp>
          <p:nvSpPr>
            <p:cNvPr id="854" name="矩形 853">
              <a:extLst>
                <a:ext uri="{FF2B5EF4-FFF2-40B4-BE49-F238E27FC236}">
                  <a16:creationId xmlns:a16="http://schemas.microsoft.com/office/drawing/2014/main" xmlns:p14="http://schemas.microsoft.com/office/powerpoint/2010/main" xmlns:a14="http://schemas.microsoft.com/office/drawing/2010/main" xmlns="" id="{BA8BA330-F6C5-428A-8FB0-D295E5F08876}"/>
                </a:ext>
              </a:extLst>
            </p:cNvPr>
            <p:cNvSpPr/>
            <p:nvPr/>
          </p:nvSpPr>
          <p:spPr>
            <a:xfrm>
              <a:off x="677034" y="195917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175" name="组合 1174">
              <a:extLst>
                <a:ext uri="{FF2B5EF4-FFF2-40B4-BE49-F238E27FC236}">
                  <a16:creationId xmlns:a16="http://schemas.microsoft.com/office/drawing/2014/main" xmlns:p14="http://schemas.microsoft.com/office/powerpoint/2010/main" xmlns:a14="http://schemas.microsoft.com/office/drawing/2010/main" xmlns="" id="{AE850707-79EE-4926-8282-2DF39231E88A}"/>
                </a:ext>
              </a:extLst>
            </p:cNvPr>
            <p:cNvGrpSpPr/>
            <p:nvPr/>
          </p:nvGrpSpPr>
          <p:grpSpPr>
            <a:xfrm>
              <a:off x="2237046" y="3541481"/>
              <a:ext cx="1322298" cy="743793"/>
              <a:chOff x="795891" y="2682194"/>
              <a:chExt cx="1322298" cy="743793"/>
            </a:xfrm>
          </p:grpSpPr>
          <p:sp>
            <p:nvSpPr>
              <p:cNvPr id="1176" name="矩形: 圆角 1175">
                <a:extLst>
                  <a:ext uri="{FF2B5EF4-FFF2-40B4-BE49-F238E27FC236}">
                    <a16:creationId xmlns:a16="http://schemas.microsoft.com/office/drawing/2014/main" xmlns:p14="http://schemas.microsoft.com/office/powerpoint/2010/main" xmlns:a14="http://schemas.microsoft.com/office/drawing/2010/main" xmlns="" id="{C77ECE32-79B9-4A12-A540-656E059A5138}"/>
                  </a:ext>
                </a:extLst>
              </p:cNvPr>
              <p:cNvSpPr>
                <a:spLocks noChangeAspect="1"/>
              </p:cNvSpPr>
              <p:nvPr/>
            </p:nvSpPr>
            <p:spPr>
              <a:xfrm>
                <a:off x="795891" y="2682194"/>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77" name="任意多边形: 形状 1176">
                <a:extLst>
                  <a:ext uri="{FF2B5EF4-FFF2-40B4-BE49-F238E27FC236}">
                    <a16:creationId xmlns:a16="http://schemas.microsoft.com/office/drawing/2014/main" xmlns:p14="http://schemas.microsoft.com/office/powerpoint/2010/main" xmlns:a14="http://schemas.microsoft.com/office/drawing/2010/main" xmlns="" id="{D8D8F1ED-AD80-40D6-BECB-C842BA1E550A}"/>
                  </a:ext>
                </a:extLst>
              </p:cNvPr>
              <p:cNvSpPr/>
              <p:nvPr/>
            </p:nvSpPr>
            <p:spPr>
              <a:xfrm>
                <a:off x="795891" y="2682194"/>
                <a:ext cx="1322298" cy="382553"/>
              </a:xfrm>
              <a:custGeom>
                <a:avLst/>
                <a:gdLst>
                  <a:gd name="connsiteX0" fmla="*/ 29553 w 1189177"/>
                  <a:gd name="connsiteY0" fmla="*/ 0 h 385548"/>
                  <a:gd name="connsiteX1" fmla="*/ 1159624 w 1189177"/>
                  <a:gd name="connsiteY1" fmla="*/ 0 h 385548"/>
                  <a:gd name="connsiteX2" fmla="*/ 1189177 w 1189177"/>
                  <a:gd name="connsiteY2" fmla="*/ 29553 h 385548"/>
                  <a:gd name="connsiteX3" fmla="*/ 1189177 w 1189177"/>
                  <a:gd name="connsiteY3" fmla="*/ 385548 h 385548"/>
                  <a:gd name="connsiteX4" fmla="*/ 0 w 1189177"/>
                  <a:gd name="connsiteY4" fmla="*/ 385548 h 385548"/>
                  <a:gd name="connsiteX5" fmla="*/ 0 w 1189177"/>
                  <a:gd name="connsiteY5" fmla="*/ 29553 h 385548"/>
                  <a:gd name="connsiteX6" fmla="*/ 29553 w 1189177"/>
                  <a:gd name="connsiteY6" fmla="*/ 0 h 385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177" h="385548">
                    <a:moveTo>
                      <a:pt x="29553" y="0"/>
                    </a:moveTo>
                    <a:lnTo>
                      <a:pt x="1159624" y="0"/>
                    </a:lnTo>
                    <a:cubicBezTo>
                      <a:pt x="1175946" y="0"/>
                      <a:pt x="1189177" y="13231"/>
                      <a:pt x="1189177" y="29553"/>
                    </a:cubicBezTo>
                    <a:lnTo>
                      <a:pt x="1189177" y="385548"/>
                    </a:lnTo>
                    <a:lnTo>
                      <a:pt x="0" y="385548"/>
                    </a:lnTo>
                    <a:lnTo>
                      <a:pt x="0" y="29553"/>
                    </a:lnTo>
                    <a:cubicBezTo>
                      <a:pt x="0" y="13231"/>
                      <a:pt x="13231" y="0"/>
                      <a:pt x="29553" y="0"/>
                    </a:cubicBezTo>
                    <a:close/>
                  </a:path>
                </a:pathLst>
              </a:custGeom>
              <a:solidFill>
                <a:srgbClr val="867D98">
                  <a:lumMod val="20000"/>
                  <a:lumOff val="80000"/>
                </a:srgbClr>
              </a:solidFill>
              <a:ln w="38100" cap="flat" cmpd="sng" algn="ctr">
                <a:noFill/>
                <a:prstDash val="solid"/>
                <a:miter lim="800000"/>
              </a:ln>
              <a:effectLst/>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grpSp>
            <p:nvGrpSpPr>
              <p:cNvPr id="1178" name="组合 1177">
                <a:extLst>
                  <a:ext uri="{FF2B5EF4-FFF2-40B4-BE49-F238E27FC236}">
                    <a16:creationId xmlns:a16="http://schemas.microsoft.com/office/drawing/2014/main" xmlns:p14="http://schemas.microsoft.com/office/powerpoint/2010/main" xmlns:a14="http://schemas.microsoft.com/office/drawing/2010/main" xmlns="" id="{28511EBC-9EF7-4DD2-9C71-440E2C7E88B2}"/>
                  </a:ext>
                </a:extLst>
              </p:cNvPr>
              <p:cNvGrpSpPr/>
              <p:nvPr/>
            </p:nvGrpSpPr>
            <p:grpSpPr>
              <a:xfrm>
                <a:off x="903307" y="3161290"/>
                <a:ext cx="1107466" cy="151273"/>
                <a:chOff x="890763" y="3168433"/>
                <a:chExt cx="1107466" cy="151273"/>
              </a:xfrm>
            </p:grpSpPr>
            <p:grpSp>
              <p:nvGrpSpPr>
                <p:cNvPr id="1179" name="组合 1178">
                  <a:extLst>
                    <a:ext uri="{FF2B5EF4-FFF2-40B4-BE49-F238E27FC236}">
                      <a16:creationId xmlns:a16="http://schemas.microsoft.com/office/drawing/2014/main" xmlns:p14="http://schemas.microsoft.com/office/powerpoint/2010/main" xmlns:a14="http://schemas.microsoft.com/office/drawing/2010/main" xmlns="" id="{C7245D6A-88C2-4564-A776-93D4903660CA}"/>
                    </a:ext>
                  </a:extLst>
                </p:cNvPr>
                <p:cNvGrpSpPr/>
                <p:nvPr/>
              </p:nvGrpSpPr>
              <p:grpSpPr>
                <a:xfrm>
                  <a:off x="890763" y="3168433"/>
                  <a:ext cx="288000" cy="151273"/>
                  <a:chOff x="890763" y="3187237"/>
                  <a:chExt cx="288000" cy="151273"/>
                </a:xfrm>
              </p:grpSpPr>
              <p:sp>
                <p:nvSpPr>
                  <p:cNvPr id="1186" name="矩形 1185">
                    <a:extLst>
                      <a:ext uri="{FF2B5EF4-FFF2-40B4-BE49-F238E27FC236}">
                        <a16:creationId xmlns:a16="http://schemas.microsoft.com/office/drawing/2014/main" xmlns:p14="http://schemas.microsoft.com/office/powerpoint/2010/main" xmlns:a14="http://schemas.microsoft.com/office/drawing/2010/main" xmlns="" id="{3558600A-838B-4B82-A710-8E22238BEB82}"/>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7" name="矩形 1186">
                    <a:extLst>
                      <a:ext uri="{FF2B5EF4-FFF2-40B4-BE49-F238E27FC236}">
                        <a16:creationId xmlns:a16="http://schemas.microsoft.com/office/drawing/2014/main" xmlns:p14="http://schemas.microsoft.com/office/powerpoint/2010/main" xmlns:a14="http://schemas.microsoft.com/office/drawing/2010/main" xmlns="" id="{CCA9112F-73C5-4C39-BE10-3AA73133E594}"/>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80" name="组合 1179">
                  <a:extLst>
                    <a:ext uri="{FF2B5EF4-FFF2-40B4-BE49-F238E27FC236}">
                      <a16:creationId xmlns:a16="http://schemas.microsoft.com/office/drawing/2014/main" xmlns:p14="http://schemas.microsoft.com/office/powerpoint/2010/main" xmlns:a14="http://schemas.microsoft.com/office/drawing/2010/main" xmlns="" id="{EBEFA3BC-34D0-4B85-A593-58A86E525EE0}"/>
                    </a:ext>
                  </a:extLst>
                </p:cNvPr>
                <p:cNvGrpSpPr/>
                <p:nvPr/>
              </p:nvGrpSpPr>
              <p:grpSpPr>
                <a:xfrm>
                  <a:off x="1300496" y="3168433"/>
                  <a:ext cx="288000" cy="151273"/>
                  <a:chOff x="890763" y="3187237"/>
                  <a:chExt cx="288000" cy="151273"/>
                </a:xfrm>
              </p:grpSpPr>
              <p:sp>
                <p:nvSpPr>
                  <p:cNvPr id="1184" name="矩形 1183">
                    <a:extLst>
                      <a:ext uri="{FF2B5EF4-FFF2-40B4-BE49-F238E27FC236}">
                        <a16:creationId xmlns:a16="http://schemas.microsoft.com/office/drawing/2014/main" xmlns:p14="http://schemas.microsoft.com/office/powerpoint/2010/main" xmlns:a14="http://schemas.microsoft.com/office/drawing/2010/main" xmlns="" id="{9861A848-16B8-4211-9FC9-45D02AACFAF8}"/>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5" name="矩形 1184">
                    <a:extLst>
                      <a:ext uri="{FF2B5EF4-FFF2-40B4-BE49-F238E27FC236}">
                        <a16:creationId xmlns:a16="http://schemas.microsoft.com/office/drawing/2014/main" xmlns:p14="http://schemas.microsoft.com/office/powerpoint/2010/main" xmlns:a14="http://schemas.microsoft.com/office/drawing/2010/main" xmlns="" id="{41EAD282-F1B9-47C8-8237-1593EFAA3566}"/>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81" name="组合 1180">
                  <a:extLst>
                    <a:ext uri="{FF2B5EF4-FFF2-40B4-BE49-F238E27FC236}">
                      <a16:creationId xmlns:a16="http://schemas.microsoft.com/office/drawing/2014/main" xmlns:p14="http://schemas.microsoft.com/office/powerpoint/2010/main" xmlns:a14="http://schemas.microsoft.com/office/drawing/2010/main" xmlns="" id="{C4ECBB84-A9C1-43CF-992F-B7D2A9AEFF9D}"/>
                    </a:ext>
                  </a:extLst>
                </p:cNvPr>
                <p:cNvGrpSpPr/>
                <p:nvPr/>
              </p:nvGrpSpPr>
              <p:grpSpPr>
                <a:xfrm>
                  <a:off x="1710229" y="3168433"/>
                  <a:ext cx="288000" cy="151273"/>
                  <a:chOff x="890763" y="3187237"/>
                  <a:chExt cx="288000" cy="151273"/>
                </a:xfrm>
              </p:grpSpPr>
              <p:sp>
                <p:nvSpPr>
                  <p:cNvPr id="1182" name="矩形 1181">
                    <a:extLst>
                      <a:ext uri="{FF2B5EF4-FFF2-40B4-BE49-F238E27FC236}">
                        <a16:creationId xmlns:a16="http://schemas.microsoft.com/office/drawing/2014/main" xmlns:p14="http://schemas.microsoft.com/office/powerpoint/2010/main" xmlns:a14="http://schemas.microsoft.com/office/drawing/2010/main" xmlns="" id="{210D9AC1-FCD2-4D8D-B173-7E1E87899759}"/>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3" name="矩形 1182">
                    <a:extLst>
                      <a:ext uri="{FF2B5EF4-FFF2-40B4-BE49-F238E27FC236}">
                        <a16:creationId xmlns:a16="http://schemas.microsoft.com/office/drawing/2014/main" xmlns:p14="http://schemas.microsoft.com/office/powerpoint/2010/main" xmlns:a14="http://schemas.microsoft.com/office/drawing/2010/main" xmlns="" id="{27D00380-E26D-4D19-8C1E-0D0FC2518CEB}"/>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sp>
          <p:nvSpPr>
            <p:cNvPr id="846" name="矩形 845">
              <a:extLst>
                <a:ext uri="{FF2B5EF4-FFF2-40B4-BE49-F238E27FC236}">
                  <a16:creationId xmlns:a16="http://schemas.microsoft.com/office/drawing/2014/main" xmlns:p14="http://schemas.microsoft.com/office/powerpoint/2010/main" xmlns:a14="http://schemas.microsoft.com/office/drawing/2010/main" xmlns="" id="{8843ECBA-98A8-425F-B9CE-8DF5FACEEB4E}"/>
                </a:ext>
              </a:extLst>
            </p:cNvPr>
            <p:cNvSpPr/>
            <p:nvPr/>
          </p:nvSpPr>
          <p:spPr>
            <a:xfrm>
              <a:off x="677034" y="1964334"/>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p>
          </p:txBody>
        </p:sp>
        <p:sp>
          <p:nvSpPr>
            <p:cNvPr id="847" name="矩形 846">
              <a:extLst>
                <a:ext uri="{FF2B5EF4-FFF2-40B4-BE49-F238E27FC236}">
                  <a16:creationId xmlns:a16="http://schemas.microsoft.com/office/drawing/2014/main" xmlns:p14="http://schemas.microsoft.com/office/powerpoint/2010/main" xmlns:a14="http://schemas.microsoft.com/office/drawing/2010/main" xmlns="" id="{C5551026-40D8-4A72-9A74-3E935305E165}"/>
                </a:ext>
              </a:extLst>
            </p:cNvPr>
            <p:cNvSpPr/>
            <p:nvPr/>
          </p:nvSpPr>
          <p:spPr>
            <a:xfrm>
              <a:off x="797125" y="2038897"/>
              <a:ext cx="1436291" cy="153888"/>
            </a:xfrm>
            <a:prstGeom prst="rect">
              <a:avLst/>
            </a:prstGeom>
          </p:spPr>
          <p:txBody>
            <a:bodyPr wrap="non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000" kern="0" dirty="0">
                  <a:solidFill>
                    <a:srgbClr val="FFFFFF"/>
                  </a:solidFill>
                </a:rPr>
                <a:t>图示库 </a:t>
              </a:r>
              <a:r>
                <a:rPr lang="en-US" altLang="zh-CN" sz="1000" kern="0">
                  <a:solidFill>
                    <a:srgbClr val="FFFFFF"/>
                  </a:solidFill>
                </a:rPr>
                <a:t>/ </a:t>
              </a:r>
              <a:r>
                <a:rPr lang="en-US" altLang="zh-CN" sz="1000" kern="0" smtClean="0">
                  <a:solidFill>
                    <a:srgbClr val="FFFFFF"/>
                  </a:solidFill>
                </a:rPr>
                <a:t>Diag</a:t>
              </a:r>
              <a:r>
                <a:rPr lang="en-US" altLang="zh-CN" sz="100" kern="0" smtClean="0">
                  <a:solidFill>
                    <a:srgbClr val="FFFFFF"/>
                  </a:solidFill>
                </a:rPr>
                <a:t> </a:t>
              </a:r>
              <a:r>
                <a:rPr lang="en-US" altLang="zh-CN" sz="1000" kern="0" smtClean="0">
                  <a:solidFill>
                    <a:srgbClr val="FFFFFF"/>
                  </a:solidFill>
                </a:rPr>
                <a:t>ram </a:t>
              </a:r>
              <a:r>
                <a:rPr lang="en-US" altLang="zh-CN" sz="1000" kern="0" dirty="0">
                  <a:solidFill>
                    <a:srgbClr val="FFFFFF"/>
                  </a:solidFill>
                </a:rPr>
                <a:t>Library</a:t>
              </a:r>
              <a:endParaRPr lang="zh-CN" altLang="en-US" sz="1000" dirty="0"/>
            </a:p>
          </p:txBody>
        </p:sp>
        <p:sp>
          <p:nvSpPr>
            <p:cNvPr id="848" name="Multiply 213">
              <a:extLst>
                <a:ext uri="{FF2B5EF4-FFF2-40B4-BE49-F238E27FC236}">
                  <a16:creationId xmlns:a16="http://schemas.microsoft.com/office/drawing/2014/main" xmlns:p14="http://schemas.microsoft.com/office/powerpoint/2010/main" xmlns:a14="http://schemas.microsoft.com/office/drawing/2010/main" xmlns="" id="{3838A130-2F03-4DA6-9A10-BF5D0AD4D3F2}"/>
                </a:ext>
              </a:extLst>
            </p:cNvPr>
            <p:cNvSpPr>
              <a:spLocks noChangeAspect="1"/>
            </p:cNvSpPr>
            <p:nvPr/>
          </p:nvSpPr>
          <p:spPr>
            <a:xfrm>
              <a:off x="3465543" y="2068412"/>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nvGrpSpPr>
            <p:cNvPr id="850" name="组合 849">
              <a:extLst>
                <a:ext uri="{FF2B5EF4-FFF2-40B4-BE49-F238E27FC236}">
                  <a16:creationId xmlns:a16="http://schemas.microsoft.com/office/drawing/2014/main" xmlns:p14="http://schemas.microsoft.com/office/powerpoint/2010/main" xmlns:a14="http://schemas.microsoft.com/office/drawing/2010/main" xmlns="" id="{C2AC0C8A-FD06-42B3-84FE-67EBE61ABAE7}"/>
                </a:ext>
              </a:extLst>
            </p:cNvPr>
            <p:cNvGrpSpPr/>
            <p:nvPr/>
          </p:nvGrpSpPr>
          <p:grpSpPr>
            <a:xfrm>
              <a:off x="797124" y="2404170"/>
              <a:ext cx="1205447" cy="160120"/>
              <a:chOff x="4248155" y="2141651"/>
              <a:chExt cx="1084090" cy="144000"/>
            </a:xfrm>
            <a:solidFill>
              <a:srgbClr val="E7E5EA"/>
            </a:solidFill>
          </p:grpSpPr>
          <p:sp>
            <p:nvSpPr>
              <p:cNvPr id="996" name="矩形 995">
                <a:extLst>
                  <a:ext uri="{FF2B5EF4-FFF2-40B4-BE49-F238E27FC236}">
                    <a16:creationId xmlns:a16="http://schemas.microsoft.com/office/drawing/2014/main" xmlns:p14="http://schemas.microsoft.com/office/powerpoint/2010/main" xmlns:a14="http://schemas.microsoft.com/office/drawing/2010/main" xmlns="" id="{4A648450-3619-4DB2-9D93-E285BE610748}"/>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997" name="矩形 996">
                <a:extLst>
                  <a:ext uri="{FF2B5EF4-FFF2-40B4-BE49-F238E27FC236}">
                    <a16:creationId xmlns:a16="http://schemas.microsoft.com/office/drawing/2014/main" xmlns:p14="http://schemas.microsoft.com/office/powerpoint/2010/main" xmlns:a14="http://schemas.microsoft.com/office/drawing/2010/main" xmlns="" id="{D10C8A5E-0A32-4118-B936-C290F38145EE}"/>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998" name="矩形 997">
                <a:extLst>
                  <a:ext uri="{FF2B5EF4-FFF2-40B4-BE49-F238E27FC236}">
                    <a16:creationId xmlns:a16="http://schemas.microsoft.com/office/drawing/2014/main" xmlns:p14="http://schemas.microsoft.com/office/powerpoint/2010/main" xmlns:a14="http://schemas.microsoft.com/office/drawing/2010/main" xmlns="" id="{5E25D274-21E4-49C1-92A6-F6DF95B8D01E}"/>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851" name="组合 850">
              <a:extLst>
                <a:ext uri="{FF2B5EF4-FFF2-40B4-BE49-F238E27FC236}">
                  <a16:creationId xmlns:a16="http://schemas.microsoft.com/office/drawing/2014/main" xmlns:p14="http://schemas.microsoft.com/office/powerpoint/2010/main" xmlns:a14="http://schemas.microsoft.com/office/drawing/2010/main" xmlns="" id="{37DB5920-5464-4F00-BC8E-356D4A25963E}"/>
                </a:ext>
              </a:extLst>
            </p:cNvPr>
            <p:cNvGrpSpPr/>
            <p:nvPr/>
          </p:nvGrpSpPr>
          <p:grpSpPr>
            <a:xfrm>
              <a:off x="2797927" y="2404170"/>
              <a:ext cx="761417" cy="160120"/>
              <a:chOff x="6047529" y="2141651"/>
              <a:chExt cx="684762" cy="144000"/>
            </a:xfrm>
            <a:solidFill>
              <a:srgbClr val="E7E5EA"/>
            </a:solidFill>
          </p:grpSpPr>
          <p:sp>
            <p:nvSpPr>
              <p:cNvPr id="994" name="矩形 993">
                <a:extLst>
                  <a:ext uri="{FF2B5EF4-FFF2-40B4-BE49-F238E27FC236}">
                    <a16:creationId xmlns:a16="http://schemas.microsoft.com/office/drawing/2014/main" xmlns:p14="http://schemas.microsoft.com/office/powerpoint/2010/main" xmlns:a14="http://schemas.microsoft.com/office/drawing/2010/main" xmlns="" id="{61D9A505-57F8-4F3D-8542-8071ED53962C}"/>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995" name="矩形 994">
                <a:extLst>
                  <a:ext uri="{FF2B5EF4-FFF2-40B4-BE49-F238E27FC236}">
                    <a16:creationId xmlns:a16="http://schemas.microsoft.com/office/drawing/2014/main" xmlns:p14="http://schemas.microsoft.com/office/powerpoint/2010/main" xmlns:a14="http://schemas.microsoft.com/office/drawing/2010/main" xmlns="" id="{49FE1BBF-2FDB-48E7-8FDC-88654D1F74AD}"/>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865" name="矩形: 圆角 864">
              <a:extLst>
                <a:ext uri="{FF2B5EF4-FFF2-40B4-BE49-F238E27FC236}">
                  <a16:creationId xmlns:a16="http://schemas.microsoft.com/office/drawing/2014/main" xmlns:p14="http://schemas.microsoft.com/office/powerpoint/2010/main" xmlns:a14="http://schemas.microsoft.com/office/drawing/2010/main" xmlns="" id="{DD2E63D6-6AE5-47B3-9136-DD9595C59592}"/>
                </a:ext>
              </a:extLst>
            </p:cNvPr>
            <p:cNvSpPr>
              <a:spLocks noChangeAspect="1"/>
            </p:cNvSpPr>
            <p:nvPr/>
          </p:nvSpPr>
          <p:spPr>
            <a:xfrm>
              <a:off x="2237046" y="2682194"/>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866" name="矩形: 圆角 865">
              <a:extLst>
                <a:ext uri="{FF2B5EF4-FFF2-40B4-BE49-F238E27FC236}">
                  <a16:creationId xmlns:a16="http://schemas.microsoft.com/office/drawing/2014/main" xmlns:p14="http://schemas.microsoft.com/office/powerpoint/2010/main" xmlns:a14="http://schemas.microsoft.com/office/drawing/2010/main" xmlns="" id="{7150F21C-954F-4DB0-821B-E1B6C03B7E19}"/>
                </a:ext>
              </a:extLst>
            </p:cNvPr>
            <p:cNvSpPr>
              <a:spLocks noChangeAspect="1"/>
            </p:cNvSpPr>
            <p:nvPr/>
          </p:nvSpPr>
          <p:spPr>
            <a:xfrm>
              <a:off x="795891" y="3541481"/>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68" name="矩形: 圆角 867">
              <a:extLst>
                <a:ext uri="{FF2B5EF4-FFF2-40B4-BE49-F238E27FC236}">
                  <a16:creationId xmlns:a16="http://schemas.microsoft.com/office/drawing/2014/main" xmlns:p14="http://schemas.microsoft.com/office/powerpoint/2010/main" xmlns:a14="http://schemas.microsoft.com/office/drawing/2010/main" xmlns="" id="{BED8AC01-2DFD-4915-8568-787BE6DA01CB}"/>
                </a:ext>
              </a:extLst>
            </p:cNvPr>
            <p:cNvSpPr>
              <a:spLocks noChangeAspect="1"/>
            </p:cNvSpPr>
            <p:nvPr/>
          </p:nvSpPr>
          <p:spPr>
            <a:xfrm>
              <a:off x="795891" y="4400769"/>
              <a:ext cx="1322298" cy="560808"/>
            </a:xfrm>
            <a:prstGeom prst="roundRect">
              <a:avLst>
                <a:gd name="adj" fmla="val 4418"/>
              </a:avLst>
            </a:prstGeom>
            <a:gradFill>
              <a:gsLst>
                <a:gs pos="50000">
                  <a:schemeClr val="bg1"/>
                </a:gs>
                <a:gs pos="100000">
                  <a:schemeClr val="bg1">
                    <a:alpha val="0"/>
                  </a:schemeClr>
                </a:gs>
              </a:gsLst>
              <a:lin ang="5400000" scaled="1"/>
            </a:gradFill>
            <a:ln w="12700">
              <a:gradFill>
                <a:gsLst>
                  <a:gs pos="0">
                    <a:srgbClr val="E7E5EA"/>
                  </a:gs>
                  <a:gs pos="100000">
                    <a:srgbClr val="E7E5EA">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69" name="矩形: 圆角 868">
              <a:extLst>
                <a:ext uri="{FF2B5EF4-FFF2-40B4-BE49-F238E27FC236}">
                  <a16:creationId xmlns:a16="http://schemas.microsoft.com/office/drawing/2014/main" xmlns:p14="http://schemas.microsoft.com/office/powerpoint/2010/main" xmlns:a14="http://schemas.microsoft.com/office/drawing/2010/main" xmlns="" id="{1783222E-7BB4-47D3-9EB9-C37001E8BCE1}"/>
                </a:ext>
              </a:extLst>
            </p:cNvPr>
            <p:cNvSpPr>
              <a:spLocks noChangeAspect="1"/>
            </p:cNvSpPr>
            <p:nvPr/>
          </p:nvSpPr>
          <p:spPr>
            <a:xfrm>
              <a:off x="2237046" y="4400769"/>
              <a:ext cx="1322298" cy="560808"/>
            </a:xfrm>
            <a:prstGeom prst="roundRect">
              <a:avLst>
                <a:gd name="adj" fmla="val 4418"/>
              </a:avLst>
            </a:prstGeom>
            <a:gradFill>
              <a:gsLst>
                <a:gs pos="50000">
                  <a:schemeClr val="bg1"/>
                </a:gs>
                <a:gs pos="100000">
                  <a:schemeClr val="bg1">
                    <a:alpha val="0"/>
                  </a:schemeClr>
                </a:gs>
              </a:gsLst>
              <a:lin ang="5400000" scaled="1"/>
            </a:gradFill>
            <a:ln w="12700">
              <a:gradFill>
                <a:gsLst>
                  <a:gs pos="0">
                    <a:srgbClr val="E7E5EA"/>
                  </a:gs>
                  <a:gs pos="100000">
                    <a:srgbClr val="E7E5EA">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874" name="组合 873">
              <a:extLst>
                <a:ext uri="{FF2B5EF4-FFF2-40B4-BE49-F238E27FC236}">
                  <a16:creationId xmlns:a16="http://schemas.microsoft.com/office/drawing/2014/main" xmlns:p14="http://schemas.microsoft.com/office/powerpoint/2010/main" xmlns:a14="http://schemas.microsoft.com/office/drawing/2010/main" xmlns="" id="{A45346F3-945E-42EA-99F7-BF1CA0EBCF23}"/>
                </a:ext>
              </a:extLst>
            </p:cNvPr>
            <p:cNvGrpSpPr/>
            <p:nvPr/>
          </p:nvGrpSpPr>
          <p:grpSpPr>
            <a:xfrm>
              <a:off x="957184" y="3664359"/>
              <a:ext cx="999712" cy="498037"/>
              <a:chOff x="7744090" y="1288932"/>
              <a:chExt cx="1833124" cy="913228"/>
            </a:xfrm>
          </p:grpSpPr>
          <p:cxnSp>
            <p:nvCxnSpPr>
              <p:cNvPr id="950" name="连接符: 肘形 949">
                <a:extLst>
                  <a:ext uri="{FF2B5EF4-FFF2-40B4-BE49-F238E27FC236}">
                    <a16:creationId xmlns:a16="http://schemas.microsoft.com/office/drawing/2014/main" xmlns:p14="http://schemas.microsoft.com/office/powerpoint/2010/main" xmlns:a14="http://schemas.microsoft.com/office/drawing/2010/main" xmlns="" id="{2DC0960E-DCC8-4213-89A3-9C8E6917B555}"/>
                  </a:ext>
                </a:extLst>
              </p:cNvPr>
              <p:cNvCxnSpPr>
                <a:cxnSpLocks/>
                <a:stCxn id="955" idx="1"/>
                <a:endCxn id="956" idx="0"/>
              </p:cNvCxnSpPr>
              <p:nvPr/>
            </p:nvCxnSpPr>
            <p:spPr>
              <a:xfrm rot="10800000" flipV="1">
                <a:off x="7949112" y="1465564"/>
                <a:ext cx="285973" cy="326552"/>
              </a:xfrm>
              <a:prstGeom prst="bentConnector2">
                <a:avLst/>
              </a:prstGeom>
              <a:solidFill>
                <a:srgbClr val="867D98">
                  <a:lumMod val="20000"/>
                  <a:lumOff val="80000"/>
                </a:srgbClr>
              </a:solidFill>
              <a:ln w="12700" cap="flat" cmpd="sng" algn="ctr">
                <a:solidFill>
                  <a:srgbClr val="E7E5EA"/>
                </a:solidFill>
                <a:prstDash val="solid"/>
                <a:miter lim="800000"/>
              </a:ln>
              <a:effectLst/>
            </p:spPr>
          </p:cxnSp>
          <p:cxnSp>
            <p:nvCxnSpPr>
              <p:cNvPr id="951" name="连接符: 肘形 950">
                <a:extLst>
                  <a:ext uri="{FF2B5EF4-FFF2-40B4-BE49-F238E27FC236}">
                    <a16:creationId xmlns:a16="http://schemas.microsoft.com/office/drawing/2014/main" xmlns:p14="http://schemas.microsoft.com/office/powerpoint/2010/main" xmlns:a14="http://schemas.microsoft.com/office/drawing/2010/main" xmlns="" id="{03CD0D39-088F-448F-8C3C-4FF43F92033E}"/>
                  </a:ext>
                </a:extLst>
              </p:cNvPr>
              <p:cNvCxnSpPr>
                <a:cxnSpLocks/>
                <a:stCxn id="955" idx="3"/>
              </p:cNvCxnSpPr>
              <p:nvPr/>
            </p:nvCxnSpPr>
            <p:spPr>
              <a:xfrm>
                <a:off x="9135072" y="1465564"/>
                <a:ext cx="225522" cy="326552"/>
              </a:xfrm>
              <a:prstGeom prst="bentConnector2">
                <a:avLst/>
              </a:prstGeom>
              <a:solidFill>
                <a:srgbClr val="867D98">
                  <a:lumMod val="20000"/>
                  <a:lumOff val="80000"/>
                </a:srgbClr>
              </a:solidFill>
              <a:ln w="12700" cap="flat" cmpd="sng" algn="ctr">
                <a:solidFill>
                  <a:srgbClr val="E7E5EA"/>
                </a:solidFill>
                <a:prstDash val="solid"/>
                <a:miter lim="800000"/>
              </a:ln>
              <a:effectLst/>
            </p:spPr>
          </p:cxnSp>
          <p:grpSp>
            <p:nvGrpSpPr>
              <p:cNvPr id="952" name="组合 951">
                <a:extLst>
                  <a:ext uri="{FF2B5EF4-FFF2-40B4-BE49-F238E27FC236}">
                    <a16:creationId xmlns:a16="http://schemas.microsoft.com/office/drawing/2014/main" xmlns:p14="http://schemas.microsoft.com/office/powerpoint/2010/main" xmlns:a14="http://schemas.microsoft.com/office/drawing/2010/main" xmlns="" id="{758E4CA3-A24B-4E35-8D8A-86224D79D0F3}"/>
                  </a:ext>
                </a:extLst>
              </p:cNvPr>
              <p:cNvGrpSpPr/>
              <p:nvPr/>
            </p:nvGrpSpPr>
            <p:grpSpPr>
              <a:xfrm>
                <a:off x="7744090" y="1288932"/>
                <a:ext cx="1833124" cy="913228"/>
                <a:chOff x="7824356" y="1531238"/>
                <a:chExt cx="1725410" cy="859568"/>
              </a:xfrm>
            </p:grpSpPr>
            <p:sp>
              <p:nvSpPr>
                <p:cNvPr id="956" name="椭圆 23">
                  <a:extLst>
                    <a:ext uri="{FF2B5EF4-FFF2-40B4-BE49-F238E27FC236}">
                      <a16:creationId xmlns:a16="http://schemas.microsoft.com/office/drawing/2014/main" xmlns:p14="http://schemas.microsoft.com/office/powerpoint/2010/main" xmlns:a14="http://schemas.microsoft.com/office/drawing/2010/main" xmlns="" id="{6FED75BF-8F8A-417D-86F1-CCF2CCA854C3}"/>
                    </a:ext>
                  </a:extLst>
                </p:cNvPr>
                <p:cNvSpPr/>
                <p:nvPr/>
              </p:nvSpPr>
              <p:spPr>
                <a:xfrm>
                  <a:off x="7824356" y="2004856"/>
                  <a:ext cx="385951"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cxnSp>
              <p:nvCxnSpPr>
                <p:cNvPr id="954" name="连接符: 肘形 953">
                  <a:extLst>
                    <a:ext uri="{FF2B5EF4-FFF2-40B4-BE49-F238E27FC236}">
                      <a16:creationId xmlns:a16="http://schemas.microsoft.com/office/drawing/2014/main" xmlns:p14="http://schemas.microsoft.com/office/powerpoint/2010/main" xmlns:a14="http://schemas.microsoft.com/office/drawing/2010/main" xmlns="" id="{C0DCE433-FEB9-4256-AD52-55CF06BA8EB0}"/>
                    </a:ext>
                  </a:extLst>
                </p:cNvPr>
                <p:cNvCxnSpPr>
                  <a:cxnSpLocks/>
                </p:cNvCxnSpPr>
                <p:nvPr/>
              </p:nvCxnSpPr>
              <p:spPr>
                <a:xfrm rot="16200000" flipV="1">
                  <a:off x="8681605" y="1783431"/>
                  <a:ext cx="12700" cy="442850"/>
                </a:xfrm>
                <a:prstGeom prst="bentConnector3">
                  <a:avLst>
                    <a:gd name="adj1" fmla="val 1554551"/>
                  </a:avLst>
                </a:prstGeom>
                <a:solidFill>
                  <a:srgbClr val="867D98">
                    <a:lumMod val="20000"/>
                    <a:lumOff val="80000"/>
                  </a:srgbClr>
                </a:solidFill>
                <a:ln w="12700" cap="flat" cmpd="sng" algn="ctr">
                  <a:solidFill>
                    <a:srgbClr val="E7E5EA"/>
                  </a:solidFill>
                  <a:prstDash val="solid"/>
                  <a:miter lim="800000"/>
                </a:ln>
                <a:effectLst/>
              </p:spPr>
            </p:cxnSp>
            <p:sp>
              <p:nvSpPr>
                <p:cNvPr id="955" name="圆角矩形 13">
                  <a:extLst>
                    <a:ext uri="{FF2B5EF4-FFF2-40B4-BE49-F238E27FC236}">
                      <a16:creationId xmlns:a16="http://schemas.microsoft.com/office/drawing/2014/main" xmlns:p14="http://schemas.microsoft.com/office/powerpoint/2010/main" xmlns:a14="http://schemas.microsoft.com/office/drawing/2010/main" xmlns="" id="{425684A3-885C-4A76-A115-DF158F3814AA}"/>
                    </a:ext>
                  </a:extLst>
                </p:cNvPr>
                <p:cNvSpPr/>
                <p:nvPr/>
              </p:nvSpPr>
              <p:spPr>
                <a:xfrm flipV="1">
                  <a:off x="8286501" y="1531238"/>
                  <a:ext cx="847108" cy="332509"/>
                </a:xfrm>
                <a:prstGeom prst="roundRect">
                  <a:avLst>
                    <a:gd name="adj" fmla="val 1314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1054" name="椭圆 23">
                  <a:extLst>
                    <a:ext uri="{FF2B5EF4-FFF2-40B4-BE49-F238E27FC236}">
                      <a16:creationId xmlns:a16="http://schemas.microsoft.com/office/drawing/2014/main" xmlns:p14="http://schemas.microsoft.com/office/powerpoint/2010/main" xmlns:a14="http://schemas.microsoft.com/office/drawing/2010/main" xmlns="" id="{9035EC9B-2C33-4F7F-9809-0CDD148A767C}"/>
                    </a:ext>
                  </a:extLst>
                </p:cNvPr>
                <p:cNvSpPr/>
                <p:nvPr/>
              </p:nvSpPr>
              <p:spPr>
                <a:xfrm>
                  <a:off x="8270843" y="2004856"/>
                  <a:ext cx="385950"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1055" name="椭圆 23">
                  <a:extLst>
                    <a:ext uri="{FF2B5EF4-FFF2-40B4-BE49-F238E27FC236}">
                      <a16:creationId xmlns:a16="http://schemas.microsoft.com/office/drawing/2014/main" xmlns:p14="http://schemas.microsoft.com/office/powerpoint/2010/main" xmlns:a14="http://schemas.microsoft.com/office/drawing/2010/main" xmlns="" id="{ADF15E24-6782-4AFE-9825-CF52713FCFF3}"/>
                    </a:ext>
                  </a:extLst>
                </p:cNvPr>
                <p:cNvSpPr/>
                <p:nvPr/>
              </p:nvSpPr>
              <p:spPr>
                <a:xfrm>
                  <a:off x="8717329" y="2004856"/>
                  <a:ext cx="385950"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1056" name="椭圆 23">
                  <a:extLst>
                    <a:ext uri="{FF2B5EF4-FFF2-40B4-BE49-F238E27FC236}">
                      <a16:creationId xmlns:a16="http://schemas.microsoft.com/office/drawing/2014/main" xmlns:p14="http://schemas.microsoft.com/office/powerpoint/2010/main" xmlns:a14="http://schemas.microsoft.com/office/drawing/2010/main" xmlns="" id="{F8288D8E-E3DC-4D46-9429-06EEF8F0B14C}"/>
                    </a:ext>
                  </a:extLst>
                </p:cNvPr>
                <p:cNvSpPr/>
                <p:nvPr/>
              </p:nvSpPr>
              <p:spPr>
                <a:xfrm>
                  <a:off x="9163816" y="2004856"/>
                  <a:ext cx="385950"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grpSp>
        </p:grpSp>
        <p:sp>
          <p:nvSpPr>
            <p:cNvPr id="876" name="矩形: 圆角 875">
              <a:extLst>
                <a:ext uri="{FF2B5EF4-FFF2-40B4-BE49-F238E27FC236}">
                  <a16:creationId xmlns:a16="http://schemas.microsoft.com/office/drawing/2014/main" xmlns:p14="http://schemas.microsoft.com/office/powerpoint/2010/main" xmlns:a14="http://schemas.microsoft.com/office/drawing/2010/main" xmlns="" id="{717959DC-79F8-484F-955A-560CC57C056E}"/>
                </a:ext>
              </a:extLst>
            </p:cNvPr>
            <p:cNvSpPr>
              <a:spLocks noChangeAspect="1"/>
            </p:cNvSpPr>
            <p:nvPr/>
          </p:nvSpPr>
          <p:spPr>
            <a:xfrm>
              <a:off x="2237046" y="3541481"/>
              <a:ext cx="1322298" cy="743793"/>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877" name="组合 876">
              <a:extLst>
                <a:ext uri="{FF2B5EF4-FFF2-40B4-BE49-F238E27FC236}">
                  <a16:creationId xmlns:a16="http://schemas.microsoft.com/office/drawing/2014/main" xmlns:p14="http://schemas.microsoft.com/office/powerpoint/2010/main" xmlns:a14="http://schemas.microsoft.com/office/drawing/2010/main" xmlns="" id="{A47B174F-DED1-4EE4-98E9-9689C17871B3}"/>
                </a:ext>
              </a:extLst>
            </p:cNvPr>
            <p:cNvGrpSpPr/>
            <p:nvPr/>
          </p:nvGrpSpPr>
          <p:grpSpPr>
            <a:xfrm>
              <a:off x="932879" y="4540141"/>
              <a:ext cx="1048323" cy="258613"/>
              <a:chOff x="5400091" y="4685784"/>
              <a:chExt cx="1747512" cy="431123"/>
            </a:xfrm>
          </p:grpSpPr>
          <p:sp>
            <p:nvSpPr>
              <p:cNvPr id="933" name="圆角矩形 13">
                <a:extLst>
                  <a:ext uri="{FF2B5EF4-FFF2-40B4-BE49-F238E27FC236}">
                    <a16:creationId xmlns:a16="http://schemas.microsoft.com/office/drawing/2014/main" xmlns:p14="http://schemas.microsoft.com/office/powerpoint/2010/main" xmlns:a14="http://schemas.microsoft.com/office/drawing/2010/main" xmlns="" id="{E984AE22-DDC3-4306-93CF-33DF1411F324}"/>
                  </a:ext>
                </a:extLst>
              </p:cNvPr>
              <p:cNvSpPr/>
              <p:nvPr/>
            </p:nvSpPr>
            <p:spPr>
              <a:xfrm>
                <a:off x="5400093" y="4935166"/>
                <a:ext cx="497744" cy="181741"/>
              </a:xfrm>
              <a:prstGeom prst="roundRect">
                <a:avLst>
                  <a:gd name="adj" fmla="val 752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sp>
            <p:nvSpPr>
              <p:cNvPr id="936" name="圆角矩形 245">
                <a:extLst>
                  <a:ext uri="{FF2B5EF4-FFF2-40B4-BE49-F238E27FC236}">
                    <a16:creationId xmlns:a16="http://schemas.microsoft.com/office/drawing/2014/main" xmlns:p14="http://schemas.microsoft.com/office/powerpoint/2010/main" xmlns:a14="http://schemas.microsoft.com/office/drawing/2010/main" xmlns="" id="{849C80C1-BE01-465E-B9B6-4452729B5A75}"/>
                  </a:ext>
                </a:extLst>
              </p:cNvPr>
              <p:cNvSpPr/>
              <p:nvPr/>
            </p:nvSpPr>
            <p:spPr>
              <a:xfrm>
                <a:off x="5400091" y="4685784"/>
                <a:ext cx="1747511" cy="152087"/>
              </a:xfrm>
              <a:prstGeom prst="roundRect">
                <a:avLst>
                  <a:gd name="adj" fmla="val 1314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sp>
            <p:nvSpPr>
              <p:cNvPr id="1078" name="圆角矩形 13">
                <a:extLst>
                  <a:ext uri="{FF2B5EF4-FFF2-40B4-BE49-F238E27FC236}">
                    <a16:creationId xmlns:a16="http://schemas.microsoft.com/office/drawing/2014/main" xmlns:p14="http://schemas.microsoft.com/office/powerpoint/2010/main" xmlns:a14="http://schemas.microsoft.com/office/drawing/2010/main" xmlns="" id="{CBEF49A2-DE81-4E3A-9FC4-3EF2DA37CCB9}"/>
                  </a:ext>
                </a:extLst>
              </p:cNvPr>
              <p:cNvSpPr/>
              <p:nvPr/>
            </p:nvSpPr>
            <p:spPr>
              <a:xfrm>
                <a:off x="6024976" y="4935166"/>
                <a:ext cx="497744" cy="181741"/>
              </a:xfrm>
              <a:prstGeom prst="roundRect">
                <a:avLst>
                  <a:gd name="adj" fmla="val 752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sp>
            <p:nvSpPr>
              <p:cNvPr id="1079" name="圆角矩形 13">
                <a:extLst>
                  <a:ext uri="{FF2B5EF4-FFF2-40B4-BE49-F238E27FC236}">
                    <a16:creationId xmlns:a16="http://schemas.microsoft.com/office/drawing/2014/main" xmlns:p14="http://schemas.microsoft.com/office/powerpoint/2010/main" xmlns:a14="http://schemas.microsoft.com/office/drawing/2010/main" xmlns="" id="{F1443997-023C-4899-949D-EFB18DCA2EFB}"/>
                  </a:ext>
                </a:extLst>
              </p:cNvPr>
              <p:cNvSpPr/>
              <p:nvPr/>
            </p:nvSpPr>
            <p:spPr>
              <a:xfrm>
                <a:off x="6649859" y="4935166"/>
                <a:ext cx="497744" cy="181741"/>
              </a:xfrm>
              <a:prstGeom prst="roundRect">
                <a:avLst>
                  <a:gd name="adj" fmla="val 752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grpSp>
        <p:grpSp>
          <p:nvGrpSpPr>
            <p:cNvPr id="16" name="组合 15">
              <a:extLst>
                <a:ext uri="{FF2B5EF4-FFF2-40B4-BE49-F238E27FC236}">
                  <a16:creationId xmlns:a16="http://schemas.microsoft.com/office/drawing/2014/main" xmlns:p14="http://schemas.microsoft.com/office/powerpoint/2010/main" xmlns:a14="http://schemas.microsoft.com/office/drawing/2010/main" xmlns="" id="{2DAF75D4-D96A-4B48-B019-A6009ADFD41C}"/>
                </a:ext>
              </a:extLst>
            </p:cNvPr>
            <p:cNvGrpSpPr/>
            <p:nvPr/>
          </p:nvGrpSpPr>
          <p:grpSpPr>
            <a:xfrm>
              <a:off x="2432734" y="2810541"/>
              <a:ext cx="930922" cy="487099"/>
              <a:chOff x="2346558" y="2871788"/>
              <a:chExt cx="856042" cy="447918"/>
            </a:xfrm>
          </p:grpSpPr>
          <p:sp>
            <p:nvSpPr>
              <p:cNvPr id="15" name="椭圆 14">
                <a:extLst>
                  <a:ext uri="{FF2B5EF4-FFF2-40B4-BE49-F238E27FC236}">
                    <a16:creationId xmlns:a16="http://schemas.microsoft.com/office/drawing/2014/main" xmlns:p14="http://schemas.microsoft.com/office/powerpoint/2010/main" xmlns:a14="http://schemas.microsoft.com/office/drawing/2010/main" xmlns="" id="{30EB6250-9E39-4126-8AA4-AB3EDCED7EB6}"/>
                  </a:ext>
                </a:extLst>
              </p:cNvPr>
              <p:cNvSpPr>
                <a:spLocks noChangeAspect="1"/>
              </p:cNvSpPr>
              <p:nvPr/>
            </p:nvSpPr>
            <p:spPr>
              <a:xfrm>
                <a:off x="2346558" y="2871788"/>
                <a:ext cx="216000" cy="216000"/>
              </a:xfrm>
              <a:prstGeom prst="ellipse">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16" name="组合 1015">
                <a:extLst>
                  <a:ext uri="{FF2B5EF4-FFF2-40B4-BE49-F238E27FC236}">
                    <a16:creationId xmlns:a16="http://schemas.microsoft.com/office/drawing/2014/main" xmlns:p14="http://schemas.microsoft.com/office/powerpoint/2010/main" xmlns:a14="http://schemas.microsoft.com/office/drawing/2010/main" xmlns="" id="{00B46A84-E3D2-42EF-999A-0E0C42EBBC2D}"/>
                  </a:ext>
                </a:extLst>
              </p:cNvPr>
              <p:cNvGrpSpPr/>
              <p:nvPr/>
            </p:nvGrpSpPr>
            <p:grpSpPr>
              <a:xfrm>
                <a:off x="2364558" y="3168433"/>
                <a:ext cx="180000" cy="151273"/>
                <a:chOff x="926763" y="3187237"/>
                <a:chExt cx="144000" cy="151273"/>
              </a:xfrm>
            </p:grpSpPr>
            <p:sp>
              <p:nvSpPr>
                <p:cNvPr id="1023" name="矩形 1022">
                  <a:extLst>
                    <a:ext uri="{FF2B5EF4-FFF2-40B4-BE49-F238E27FC236}">
                      <a16:creationId xmlns:a16="http://schemas.microsoft.com/office/drawing/2014/main" xmlns:p14="http://schemas.microsoft.com/office/powerpoint/2010/main" xmlns:a14="http://schemas.microsoft.com/office/drawing/2010/main" xmlns="" id="{0939C5B3-D0BE-4CBE-9F01-15D03E9B4905}"/>
                    </a:ext>
                  </a:extLst>
                </p:cNvPr>
                <p:cNvSpPr/>
                <p:nvPr/>
              </p:nvSpPr>
              <p:spPr>
                <a:xfrm>
                  <a:off x="926763" y="3187237"/>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24" name="矩形 1023">
                  <a:extLst>
                    <a:ext uri="{FF2B5EF4-FFF2-40B4-BE49-F238E27FC236}">
                      <a16:creationId xmlns:a16="http://schemas.microsoft.com/office/drawing/2014/main" xmlns:p14="http://schemas.microsoft.com/office/powerpoint/2010/main" xmlns:a14="http://schemas.microsoft.com/office/drawing/2010/main" xmlns="" id="{2BFB96C1-8536-43E9-8B4B-83BEEEDD63EE}"/>
                    </a:ext>
                  </a:extLst>
                </p:cNvPr>
                <p:cNvSpPr/>
                <p:nvPr/>
              </p:nvSpPr>
              <p:spPr>
                <a:xfrm>
                  <a:off x="926763" y="3284510"/>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41" name="椭圆 1040">
                <a:extLst>
                  <a:ext uri="{FF2B5EF4-FFF2-40B4-BE49-F238E27FC236}">
                    <a16:creationId xmlns:a16="http://schemas.microsoft.com/office/drawing/2014/main" xmlns:p14="http://schemas.microsoft.com/office/powerpoint/2010/main" xmlns:a14="http://schemas.microsoft.com/office/drawing/2010/main" xmlns="" id="{6CEF65A3-982C-4BEA-865C-CB1C6FB3B03C}"/>
                  </a:ext>
                </a:extLst>
              </p:cNvPr>
              <p:cNvSpPr>
                <a:spLocks noChangeAspect="1"/>
              </p:cNvSpPr>
              <p:nvPr/>
            </p:nvSpPr>
            <p:spPr>
              <a:xfrm>
                <a:off x="2666579" y="2871788"/>
                <a:ext cx="216000" cy="216000"/>
              </a:xfrm>
              <a:prstGeom prst="ellipse">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42" name="组合 1041">
                <a:extLst>
                  <a:ext uri="{FF2B5EF4-FFF2-40B4-BE49-F238E27FC236}">
                    <a16:creationId xmlns:a16="http://schemas.microsoft.com/office/drawing/2014/main" xmlns:p14="http://schemas.microsoft.com/office/powerpoint/2010/main" xmlns:a14="http://schemas.microsoft.com/office/drawing/2010/main" xmlns="" id="{3E064D18-B094-48FE-8986-E1850BC4D92C}"/>
                  </a:ext>
                </a:extLst>
              </p:cNvPr>
              <p:cNvGrpSpPr/>
              <p:nvPr/>
            </p:nvGrpSpPr>
            <p:grpSpPr>
              <a:xfrm>
                <a:off x="2684579" y="3168433"/>
                <a:ext cx="180000" cy="151273"/>
                <a:chOff x="926763" y="3187237"/>
                <a:chExt cx="144000" cy="151273"/>
              </a:xfrm>
            </p:grpSpPr>
            <p:sp>
              <p:nvSpPr>
                <p:cNvPr id="1043" name="矩形 1042">
                  <a:extLst>
                    <a:ext uri="{FF2B5EF4-FFF2-40B4-BE49-F238E27FC236}">
                      <a16:creationId xmlns:a16="http://schemas.microsoft.com/office/drawing/2014/main" xmlns:p14="http://schemas.microsoft.com/office/powerpoint/2010/main" xmlns:a14="http://schemas.microsoft.com/office/drawing/2010/main" xmlns="" id="{E3ECD842-62EE-4219-B56E-B39E7EA7768B}"/>
                    </a:ext>
                  </a:extLst>
                </p:cNvPr>
                <p:cNvSpPr/>
                <p:nvPr/>
              </p:nvSpPr>
              <p:spPr>
                <a:xfrm>
                  <a:off x="926763" y="3187237"/>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4" name="矩形 1043">
                  <a:extLst>
                    <a:ext uri="{FF2B5EF4-FFF2-40B4-BE49-F238E27FC236}">
                      <a16:creationId xmlns:a16="http://schemas.microsoft.com/office/drawing/2014/main" xmlns:p14="http://schemas.microsoft.com/office/powerpoint/2010/main" xmlns:a14="http://schemas.microsoft.com/office/drawing/2010/main" xmlns="" id="{1B95D614-39A0-4244-80D1-C3EEBD4BD33A}"/>
                    </a:ext>
                  </a:extLst>
                </p:cNvPr>
                <p:cNvSpPr/>
                <p:nvPr/>
              </p:nvSpPr>
              <p:spPr>
                <a:xfrm>
                  <a:off x="926763" y="3284510"/>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45" name="椭圆 1044">
                <a:extLst>
                  <a:ext uri="{FF2B5EF4-FFF2-40B4-BE49-F238E27FC236}">
                    <a16:creationId xmlns:a16="http://schemas.microsoft.com/office/drawing/2014/main" xmlns:p14="http://schemas.microsoft.com/office/powerpoint/2010/main" xmlns:a14="http://schemas.microsoft.com/office/drawing/2010/main" xmlns="" id="{190098A9-E668-4E89-A186-0A482EAD4129}"/>
                  </a:ext>
                </a:extLst>
              </p:cNvPr>
              <p:cNvSpPr>
                <a:spLocks noChangeAspect="1"/>
              </p:cNvSpPr>
              <p:nvPr/>
            </p:nvSpPr>
            <p:spPr>
              <a:xfrm>
                <a:off x="2986600" y="2871788"/>
                <a:ext cx="216000" cy="216000"/>
              </a:xfrm>
              <a:prstGeom prst="ellipse">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46" name="组合 1045">
                <a:extLst>
                  <a:ext uri="{FF2B5EF4-FFF2-40B4-BE49-F238E27FC236}">
                    <a16:creationId xmlns:a16="http://schemas.microsoft.com/office/drawing/2014/main" xmlns:p14="http://schemas.microsoft.com/office/powerpoint/2010/main" xmlns:a14="http://schemas.microsoft.com/office/drawing/2010/main" xmlns="" id="{432BC3E3-C33F-45DB-9C12-80DBA9576112}"/>
                  </a:ext>
                </a:extLst>
              </p:cNvPr>
              <p:cNvGrpSpPr/>
              <p:nvPr/>
            </p:nvGrpSpPr>
            <p:grpSpPr>
              <a:xfrm>
                <a:off x="3004600" y="3168433"/>
                <a:ext cx="180000" cy="151273"/>
                <a:chOff x="926763" y="3187237"/>
                <a:chExt cx="144000" cy="151273"/>
              </a:xfrm>
            </p:grpSpPr>
            <p:sp>
              <p:nvSpPr>
                <p:cNvPr id="1047" name="矩形 1046">
                  <a:extLst>
                    <a:ext uri="{FF2B5EF4-FFF2-40B4-BE49-F238E27FC236}">
                      <a16:creationId xmlns:a16="http://schemas.microsoft.com/office/drawing/2014/main" xmlns:p14="http://schemas.microsoft.com/office/powerpoint/2010/main" xmlns:a14="http://schemas.microsoft.com/office/drawing/2010/main" xmlns="" id="{AFBE4C15-7AB1-49CF-B975-F6CA747FBD07}"/>
                    </a:ext>
                  </a:extLst>
                </p:cNvPr>
                <p:cNvSpPr/>
                <p:nvPr/>
              </p:nvSpPr>
              <p:spPr>
                <a:xfrm>
                  <a:off x="926763" y="3187237"/>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8" name="矩形 1047">
                  <a:extLst>
                    <a:ext uri="{FF2B5EF4-FFF2-40B4-BE49-F238E27FC236}">
                      <a16:creationId xmlns:a16="http://schemas.microsoft.com/office/drawing/2014/main" xmlns:p14="http://schemas.microsoft.com/office/powerpoint/2010/main" xmlns:a14="http://schemas.microsoft.com/office/drawing/2010/main" xmlns="" id="{7970FEF5-16DF-4A00-989C-7C6C60A9B9EE}"/>
                    </a:ext>
                  </a:extLst>
                </p:cNvPr>
                <p:cNvSpPr/>
                <p:nvPr/>
              </p:nvSpPr>
              <p:spPr>
                <a:xfrm>
                  <a:off x="926763" y="3284510"/>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863" name="矩形: 圆角 862">
              <a:extLst>
                <a:ext uri="{FF2B5EF4-FFF2-40B4-BE49-F238E27FC236}">
                  <a16:creationId xmlns:a16="http://schemas.microsoft.com/office/drawing/2014/main" xmlns:p14="http://schemas.microsoft.com/office/powerpoint/2010/main" xmlns:a14="http://schemas.microsoft.com/office/drawing/2010/main" xmlns="" id="{B64809AD-D167-45C7-A4EC-8560EE574446}"/>
                </a:ext>
              </a:extLst>
            </p:cNvPr>
            <p:cNvSpPr>
              <a:spLocks noChangeAspect="1"/>
            </p:cNvSpPr>
            <p:nvPr/>
          </p:nvSpPr>
          <p:spPr>
            <a:xfrm>
              <a:off x="795891" y="2682194"/>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25" name="组合 24">
              <a:extLst>
                <a:ext uri="{FF2B5EF4-FFF2-40B4-BE49-F238E27FC236}">
                  <a16:creationId xmlns:a16="http://schemas.microsoft.com/office/drawing/2014/main" xmlns:p14="http://schemas.microsoft.com/office/powerpoint/2010/main" xmlns:a14="http://schemas.microsoft.com/office/drawing/2010/main" xmlns="" id="{4194A22F-CDBB-4156-87AB-7F39A731E5B3}"/>
                </a:ext>
              </a:extLst>
            </p:cNvPr>
            <p:cNvGrpSpPr/>
            <p:nvPr/>
          </p:nvGrpSpPr>
          <p:grpSpPr>
            <a:xfrm>
              <a:off x="958894" y="2827593"/>
              <a:ext cx="996293" cy="452994"/>
              <a:chOff x="2397064" y="3686880"/>
              <a:chExt cx="996293" cy="452994"/>
            </a:xfrm>
          </p:grpSpPr>
          <p:grpSp>
            <p:nvGrpSpPr>
              <p:cNvPr id="938" name="组合 937">
                <a:extLst>
                  <a:ext uri="{FF2B5EF4-FFF2-40B4-BE49-F238E27FC236}">
                    <a16:creationId xmlns:a16="http://schemas.microsoft.com/office/drawing/2014/main" xmlns:p14="http://schemas.microsoft.com/office/powerpoint/2010/main" xmlns:a14="http://schemas.microsoft.com/office/drawing/2010/main" xmlns="" id="{17F70482-DADB-43DB-A367-52DA6ED9235A}"/>
                  </a:ext>
                </a:extLst>
              </p:cNvPr>
              <p:cNvGrpSpPr/>
              <p:nvPr/>
            </p:nvGrpSpPr>
            <p:grpSpPr>
              <a:xfrm>
                <a:off x="2397064" y="3686880"/>
                <a:ext cx="466228" cy="452994"/>
                <a:chOff x="7824355" y="3116332"/>
                <a:chExt cx="916957" cy="890931"/>
              </a:xfrm>
            </p:grpSpPr>
            <p:sp>
              <p:nvSpPr>
                <p:cNvPr id="944" name="六边形 943">
                  <a:extLst>
                    <a:ext uri="{FF2B5EF4-FFF2-40B4-BE49-F238E27FC236}">
                      <a16:creationId xmlns:a16="http://schemas.microsoft.com/office/drawing/2014/main" xmlns:p14="http://schemas.microsoft.com/office/powerpoint/2010/main" xmlns:a14="http://schemas.microsoft.com/office/drawing/2010/main" xmlns="" id="{594B32B4-0694-4481-BEDC-09F0B29FD15B}"/>
                    </a:ext>
                  </a:extLst>
                </p:cNvPr>
                <p:cNvSpPr/>
                <p:nvPr/>
              </p:nvSpPr>
              <p:spPr>
                <a:xfrm>
                  <a:off x="7824355" y="3116332"/>
                  <a:ext cx="479977" cy="41377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945" name="六边形 944">
                  <a:extLst>
                    <a:ext uri="{FF2B5EF4-FFF2-40B4-BE49-F238E27FC236}">
                      <a16:creationId xmlns:a16="http://schemas.microsoft.com/office/drawing/2014/main" xmlns:p14="http://schemas.microsoft.com/office/powerpoint/2010/main" xmlns:a14="http://schemas.microsoft.com/office/drawing/2010/main" xmlns="" id="{3295658D-3A76-4A00-8F34-A27D1CBEC15C}"/>
                    </a:ext>
                  </a:extLst>
                </p:cNvPr>
                <p:cNvSpPr/>
                <p:nvPr/>
              </p:nvSpPr>
              <p:spPr>
                <a:xfrm>
                  <a:off x="8261335" y="3350709"/>
                  <a:ext cx="479977" cy="41377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947" name="六边形 946">
                  <a:extLst>
                    <a:ext uri="{FF2B5EF4-FFF2-40B4-BE49-F238E27FC236}">
                      <a16:creationId xmlns:a16="http://schemas.microsoft.com/office/drawing/2014/main" xmlns:p14="http://schemas.microsoft.com/office/powerpoint/2010/main" xmlns:a14="http://schemas.microsoft.com/office/drawing/2010/main" xmlns="" id="{B7C876CD-DA17-4FBD-81B9-C9478A41935C}"/>
                    </a:ext>
                  </a:extLst>
                </p:cNvPr>
                <p:cNvSpPr/>
                <p:nvPr/>
              </p:nvSpPr>
              <p:spPr>
                <a:xfrm>
                  <a:off x="7833058" y="3593491"/>
                  <a:ext cx="479976" cy="413772"/>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grpSp>
          <p:grpSp>
            <p:nvGrpSpPr>
              <p:cNvPr id="24" name="组合 23">
                <a:extLst>
                  <a:ext uri="{FF2B5EF4-FFF2-40B4-BE49-F238E27FC236}">
                    <a16:creationId xmlns:a16="http://schemas.microsoft.com/office/drawing/2014/main" xmlns:p14="http://schemas.microsoft.com/office/powerpoint/2010/main" xmlns:a14="http://schemas.microsoft.com/office/drawing/2010/main" xmlns="" id="{8FE53A35-7B1D-4667-B649-AA89BB44D808}"/>
                  </a:ext>
                </a:extLst>
              </p:cNvPr>
              <p:cNvGrpSpPr/>
              <p:nvPr/>
            </p:nvGrpSpPr>
            <p:grpSpPr>
              <a:xfrm>
                <a:off x="2941293" y="3788716"/>
                <a:ext cx="452064" cy="249322"/>
                <a:chOff x="2985439" y="3716434"/>
                <a:chExt cx="452064" cy="249322"/>
              </a:xfrm>
            </p:grpSpPr>
            <p:sp>
              <p:nvSpPr>
                <p:cNvPr id="1065" name="矩形 1064">
                  <a:extLst>
                    <a:ext uri="{FF2B5EF4-FFF2-40B4-BE49-F238E27FC236}">
                      <a16:creationId xmlns:a16="http://schemas.microsoft.com/office/drawing/2014/main" xmlns:p14="http://schemas.microsoft.com/office/powerpoint/2010/main" xmlns:a14="http://schemas.microsoft.com/office/drawing/2010/main" xmlns="" id="{EC4235DF-6AC4-4F0F-94CE-C13DD6DB3628}"/>
                    </a:ext>
                  </a:extLst>
                </p:cNvPr>
                <p:cNvSpPr/>
                <p:nvPr/>
              </p:nvSpPr>
              <p:spPr>
                <a:xfrm>
                  <a:off x="2985441" y="3716434"/>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6" name="矩形 1065">
                  <a:extLst>
                    <a:ext uri="{FF2B5EF4-FFF2-40B4-BE49-F238E27FC236}">
                      <a16:creationId xmlns:a16="http://schemas.microsoft.com/office/drawing/2014/main" xmlns:p14="http://schemas.microsoft.com/office/powerpoint/2010/main" xmlns:a14="http://schemas.microsoft.com/office/drawing/2010/main" xmlns="" id="{45E34FC1-122D-40D6-BEA9-226EA2BDCBCE}"/>
                    </a:ext>
                  </a:extLst>
                </p:cNvPr>
                <p:cNvSpPr/>
                <p:nvPr/>
              </p:nvSpPr>
              <p:spPr>
                <a:xfrm>
                  <a:off x="2985439" y="3813707"/>
                  <a:ext cx="39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69" name="矩形 1068">
                  <a:extLst>
                    <a:ext uri="{FF2B5EF4-FFF2-40B4-BE49-F238E27FC236}">
                      <a16:creationId xmlns:a16="http://schemas.microsoft.com/office/drawing/2014/main" xmlns:p14="http://schemas.microsoft.com/office/powerpoint/2010/main" xmlns:a14="http://schemas.microsoft.com/office/drawing/2010/main" xmlns="" id="{DA16AA45-D176-4D08-BD59-281FF7895BC2}"/>
                    </a:ext>
                  </a:extLst>
                </p:cNvPr>
                <p:cNvSpPr/>
                <p:nvPr/>
              </p:nvSpPr>
              <p:spPr>
                <a:xfrm>
                  <a:off x="2985439" y="3911756"/>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29" name="组合 28">
              <a:extLst>
                <a:ext uri="{FF2B5EF4-FFF2-40B4-BE49-F238E27FC236}">
                  <a16:creationId xmlns:a16="http://schemas.microsoft.com/office/drawing/2014/main" xmlns:p14="http://schemas.microsoft.com/office/powerpoint/2010/main" xmlns:a14="http://schemas.microsoft.com/office/drawing/2010/main" xmlns="" id="{98748623-E96F-40FF-A776-467E82C6C4A8}"/>
                </a:ext>
              </a:extLst>
            </p:cNvPr>
            <p:cNvGrpSpPr/>
            <p:nvPr/>
          </p:nvGrpSpPr>
          <p:grpSpPr>
            <a:xfrm>
              <a:off x="2390618" y="4549429"/>
              <a:ext cx="1015154" cy="263489"/>
              <a:chOff x="2306270" y="4491548"/>
              <a:chExt cx="1015154" cy="263489"/>
            </a:xfrm>
          </p:grpSpPr>
          <p:sp>
            <p:nvSpPr>
              <p:cNvPr id="930" name="圆角矩形 13">
                <a:extLst>
                  <a:ext uri="{FF2B5EF4-FFF2-40B4-BE49-F238E27FC236}">
                    <a16:creationId xmlns:a16="http://schemas.microsoft.com/office/drawing/2014/main" xmlns:p14="http://schemas.microsoft.com/office/powerpoint/2010/main" xmlns:a14="http://schemas.microsoft.com/office/drawing/2010/main" xmlns="" id="{201B923C-EDD6-428E-B992-557CEF434B8B}"/>
                  </a:ext>
                </a:extLst>
              </p:cNvPr>
              <p:cNvSpPr/>
              <p:nvPr/>
            </p:nvSpPr>
            <p:spPr>
              <a:xfrm>
                <a:off x="2626870" y="4491548"/>
                <a:ext cx="357831" cy="263489"/>
              </a:xfrm>
              <a:prstGeom prst="roundRect">
                <a:avLst>
                  <a:gd name="adj" fmla="val 8038"/>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grpSp>
            <p:nvGrpSpPr>
              <p:cNvPr id="26" name="组合 25">
                <a:extLst>
                  <a:ext uri="{FF2B5EF4-FFF2-40B4-BE49-F238E27FC236}">
                    <a16:creationId xmlns:a16="http://schemas.microsoft.com/office/drawing/2014/main" xmlns:p14="http://schemas.microsoft.com/office/powerpoint/2010/main" xmlns:a14="http://schemas.microsoft.com/office/drawing/2010/main" xmlns="" id="{45C074C8-B745-491A-9083-938E1FFF3520}"/>
                  </a:ext>
                </a:extLst>
              </p:cNvPr>
              <p:cNvGrpSpPr/>
              <p:nvPr/>
            </p:nvGrpSpPr>
            <p:grpSpPr>
              <a:xfrm>
                <a:off x="3069273" y="4491548"/>
                <a:ext cx="252151" cy="249322"/>
                <a:chOff x="3167324" y="4573427"/>
                <a:chExt cx="452064" cy="249322"/>
              </a:xfrm>
            </p:grpSpPr>
            <p:sp>
              <p:nvSpPr>
                <p:cNvPr id="1071" name="矩形 1070">
                  <a:extLst>
                    <a:ext uri="{FF2B5EF4-FFF2-40B4-BE49-F238E27FC236}">
                      <a16:creationId xmlns:a16="http://schemas.microsoft.com/office/drawing/2014/main" xmlns:p14="http://schemas.microsoft.com/office/powerpoint/2010/main" xmlns:a14="http://schemas.microsoft.com/office/drawing/2010/main" xmlns="" id="{0CBAB299-BCC4-4DB1-B0B1-81F3C2F3B2C8}"/>
                    </a:ext>
                  </a:extLst>
                </p:cNvPr>
                <p:cNvSpPr/>
                <p:nvPr/>
              </p:nvSpPr>
              <p:spPr>
                <a:xfrm>
                  <a:off x="3167326" y="4573427"/>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2" name="矩形 1071">
                  <a:extLst>
                    <a:ext uri="{FF2B5EF4-FFF2-40B4-BE49-F238E27FC236}">
                      <a16:creationId xmlns:a16="http://schemas.microsoft.com/office/drawing/2014/main" xmlns:p14="http://schemas.microsoft.com/office/powerpoint/2010/main" xmlns:a14="http://schemas.microsoft.com/office/drawing/2010/main" xmlns="" id="{97B82DC9-2FF1-498F-A360-B7CB02AFA5BD}"/>
                    </a:ext>
                  </a:extLst>
                </p:cNvPr>
                <p:cNvSpPr/>
                <p:nvPr/>
              </p:nvSpPr>
              <p:spPr>
                <a:xfrm>
                  <a:off x="3167324" y="4670700"/>
                  <a:ext cx="39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73" name="矩形 1072">
                  <a:extLst>
                    <a:ext uri="{FF2B5EF4-FFF2-40B4-BE49-F238E27FC236}">
                      <a16:creationId xmlns:a16="http://schemas.microsoft.com/office/drawing/2014/main" xmlns:p14="http://schemas.microsoft.com/office/powerpoint/2010/main" xmlns:a14="http://schemas.microsoft.com/office/drawing/2010/main" xmlns="" id="{0A3E8C70-F56A-4348-A5A3-965280C2638D}"/>
                    </a:ext>
                  </a:extLst>
                </p:cNvPr>
                <p:cNvSpPr/>
                <p:nvPr/>
              </p:nvSpPr>
              <p:spPr>
                <a:xfrm>
                  <a:off x="3167324" y="4768749"/>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74" name="组合 1073">
                <a:extLst>
                  <a:ext uri="{FF2B5EF4-FFF2-40B4-BE49-F238E27FC236}">
                    <a16:creationId xmlns:a16="http://schemas.microsoft.com/office/drawing/2014/main" xmlns:p14="http://schemas.microsoft.com/office/powerpoint/2010/main" xmlns:a14="http://schemas.microsoft.com/office/drawing/2010/main" xmlns="" id="{ED8E2C3F-E938-4D95-883D-D29C518F3E79}"/>
                  </a:ext>
                </a:extLst>
              </p:cNvPr>
              <p:cNvGrpSpPr/>
              <p:nvPr/>
            </p:nvGrpSpPr>
            <p:grpSpPr>
              <a:xfrm>
                <a:off x="2306270" y="4491548"/>
                <a:ext cx="252152" cy="249322"/>
                <a:chOff x="3167322" y="4573427"/>
                <a:chExt cx="452066" cy="249322"/>
              </a:xfrm>
            </p:grpSpPr>
            <p:sp>
              <p:nvSpPr>
                <p:cNvPr id="1075" name="矩形 1074">
                  <a:extLst>
                    <a:ext uri="{FF2B5EF4-FFF2-40B4-BE49-F238E27FC236}">
                      <a16:creationId xmlns:a16="http://schemas.microsoft.com/office/drawing/2014/main" xmlns:p14="http://schemas.microsoft.com/office/powerpoint/2010/main" xmlns:a14="http://schemas.microsoft.com/office/drawing/2010/main" xmlns="" id="{2248F49E-F982-40F3-89EF-ECD9EF3F1A0C}"/>
                    </a:ext>
                  </a:extLst>
                </p:cNvPr>
                <p:cNvSpPr/>
                <p:nvPr/>
              </p:nvSpPr>
              <p:spPr>
                <a:xfrm>
                  <a:off x="3167326" y="4573427"/>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6" name="矩形 1075">
                  <a:extLst>
                    <a:ext uri="{FF2B5EF4-FFF2-40B4-BE49-F238E27FC236}">
                      <a16:creationId xmlns:a16="http://schemas.microsoft.com/office/drawing/2014/main" xmlns:p14="http://schemas.microsoft.com/office/powerpoint/2010/main" xmlns:a14="http://schemas.microsoft.com/office/drawing/2010/main" xmlns="" id="{C6A487A8-755C-4D28-B0AA-507A3359D845}"/>
                    </a:ext>
                  </a:extLst>
                </p:cNvPr>
                <p:cNvSpPr/>
                <p:nvPr/>
              </p:nvSpPr>
              <p:spPr>
                <a:xfrm>
                  <a:off x="3167326" y="4670700"/>
                  <a:ext cx="396001"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77" name="矩形 1076">
                  <a:extLst>
                    <a:ext uri="{FF2B5EF4-FFF2-40B4-BE49-F238E27FC236}">
                      <a16:creationId xmlns:a16="http://schemas.microsoft.com/office/drawing/2014/main" xmlns:p14="http://schemas.microsoft.com/office/powerpoint/2010/main" xmlns:a14="http://schemas.microsoft.com/office/drawing/2010/main" xmlns="" id="{F08D21E7-7021-4181-8C31-97F5FB37D7BA}"/>
                    </a:ext>
                  </a:extLst>
                </p:cNvPr>
                <p:cNvSpPr/>
                <p:nvPr/>
              </p:nvSpPr>
              <p:spPr>
                <a:xfrm>
                  <a:off x="3167322" y="4768749"/>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grpSp>
        <p:nvGrpSpPr>
          <p:cNvPr id="198" name="组合 197">
            <a:extLst>
              <a:ext uri="{FF2B5EF4-FFF2-40B4-BE49-F238E27FC236}">
                <a16:creationId xmlns:a16="http://schemas.microsoft.com/office/drawing/2014/main" xmlns:p14="http://schemas.microsoft.com/office/powerpoint/2010/main" xmlns:a14="http://schemas.microsoft.com/office/drawing/2010/main" xmlns="" id="{FC522BDD-3447-423F-96CD-D460760F796C}"/>
              </a:ext>
            </a:extLst>
          </p:cNvPr>
          <p:cNvGrpSpPr/>
          <p:nvPr/>
        </p:nvGrpSpPr>
        <p:grpSpPr>
          <a:xfrm>
            <a:off x="4355744" y="1959177"/>
            <a:ext cx="4630137" cy="3093736"/>
            <a:chOff x="4355738" y="1959177"/>
            <a:chExt cx="4630137" cy="3093736"/>
          </a:xfrm>
        </p:grpSpPr>
        <p:sp>
          <p:nvSpPr>
            <p:cNvPr id="611" name="Freeform 6">
              <a:extLst>
                <a:ext uri="{FF2B5EF4-FFF2-40B4-BE49-F238E27FC236}">
                  <a16:creationId xmlns:a16="http://schemas.microsoft.com/office/drawing/2014/main" xmlns:p14="http://schemas.microsoft.com/office/powerpoint/2010/main" xmlns:a14="http://schemas.microsoft.com/office/drawing/2010/main" xmlns="" id="{61153CE2-AE0B-441F-B0A1-0FBBB2760D07}"/>
                </a:ext>
              </a:extLst>
            </p:cNvPr>
            <p:cNvSpPr>
              <a:spLocks/>
            </p:cNvSpPr>
            <p:nvPr/>
          </p:nvSpPr>
          <p:spPr bwMode="auto">
            <a:xfrm>
              <a:off x="4355738" y="1959177"/>
              <a:ext cx="4630137" cy="3093736"/>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1092" name="矩形: 圆角 1091">
              <a:extLst>
                <a:ext uri="{FF2B5EF4-FFF2-40B4-BE49-F238E27FC236}">
                  <a16:creationId xmlns:a16="http://schemas.microsoft.com/office/drawing/2014/main" xmlns:p14="http://schemas.microsoft.com/office/powerpoint/2010/main" xmlns:a14="http://schemas.microsoft.com/office/drawing/2010/main" xmlns="" id="{3A2A346D-64A0-4D7C-9357-189428DEBCC6}"/>
                </a:ext>
              </a:extLst>
            </p:cNvPr>
            <p:cNvSpPr>
              <a:spLocks noChangeAspect="1"/>
            </p:cNvSpPr>
            <p:nvPr/>
          </p:nvSpPr>
          <p:spPr>
            <a:xfrm>
              <a:off x="4537757" y="2967959"/>
              <a:ext cx="697541" cy="400205"/>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12" name="Rectangle 8">
              <a:extLst>
                <a:ext uri="{FF2B5EF4-FFF2-40B4-BE49-F238E27FC236}">
                  <a16:creationId xmlns:a16="http://schemas.microsoft.com/office/drawing/2014/main" xmlns:p14="http://schemas.microsoft.com/office/powerpoint/2010/main" xmlns:a14="http://schemas.microsoft.com/office/drawing/2010/main" xmlns="" id="{795F2FB1-4108-407F-B036-2EAEC202A805}"/>
                </a:ext>
              </a:extLst>
            </p:cNvPr>
            <p:cNvSpPr>
              <a:spLocks noChangeArrowheads="1"/>
            </p:cNvSpPr>
            <p:nvPr/>
          </p:nvSpPr>
          <p:spPr bwMode="auto">
            <a:xfrm>
              <a:off x="4537760" y="2305823"/>
              <a:ext cx="4293867" cy="401176"/>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3" name="Rectangle 9">
              <a:extLst>
                <a:ext uri="{FF2B5EF4-FFF2-40B4-BE49-F238E27FC236}">
                  <a16:creationId xmlns:a16="http://schemas.microsoft.com/office/drawing/2014/main" xmlns:p14="http://schemas.microsoft.com/office/powerpoint/2010/main" xmlns:a14="http://schemas.microsoft.com/office/drawing/2010/main" xmlns="" id="{FAC73EC9-CB85-4FC7-82FF-A7427177F2F8}"/>
                </a:ext>
              </a:extLst>
            </p:cNvPr>
            <p:cNvSpPr>
              <a:spLocks noChangeArrowheads="1"/>
            </p:cNvSpPr>
            <p:nvPr/>
          </p:nvSpPr>
          <p:spPr bwMode="auto">
            <a:xfrm>
              <a:off x="4537760" y="2305823"/>
              <a:ext cx="4293867" cy="233694"/>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4" name="Oval 14">
              <a:extLst>
                <a:ext uri="{FF2B5EF4-FFF2-40B4-BE49-F238E27FC236}">
                  <a16:creationId xmlns:a16="http://schemas.microsoft.com/office/drawing/2014/main" xmlns:p14="http://schemas.microsoft.com/office/powerpoint/2010/main" xmlns:a14="http://schemas.microsoft.com/office/drawing/2010/main" xmlns="" id="{F65FB675-16E4-453F-84A9-3127E2E0653E}"/>
                </a:ext>
              </a:extLst>
            </p:cNvPr>
            <p:cNvSpPr>
              <a:spLocks noChangeArrowheads="1"/>
            </p:cNvSpPr>
            <p:nvPr/>
          </p:nvSpPr>
          <p:spPr bwMode="auto">
            <a:xfrm>
              <a:off x="5016364" y="2138342"/>
              <a:ext cx="78918" cy="80494"/>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5" name="Oval 15">
              <a:extLst>
                <a:ext uri="{FF2B5EF4-FFF2-40B4-BE49-F238E27FC236}">
                  <a16:creationId xmlns:a16="http://schemas.microsoft.com/office/drawing/2014/main" xmlns:p14="http://schemas.microsoft.com/office/powerpoint/2010/main" xmlns:a14="http://schemas.microsoft.com/office/drawing/2010/main" xmlns="" id="{DD3E21B5-B971-448C-989F-4965A0978D04}"/>
                </a:ext>
              </a:extLst>
            </p:cNvPr>
            <p:cNvSpPr>
              <a:spLocks noChangeArrowheads="1"/>
            </p:cNvSpPr>
            <p:nvPr/>
          </p:nvSpPr>
          <p:spPr bwMode="auto">
            <a:xfrm>
              <a:off x="5155108" y="2138342"/>
              <a:ext cx="80193" cy="80494"/>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6" name="Oval 16">
              <a:extLst>
                <a:ext uri="{FF2B5EF4-FFF2-40B4-BE49-F238E27FC236}">
                  <a16:creationId xmlns:a16="http://schemas.microsoft.com/office/drawing/2014/main" xmlns:p14="http://schemas.microsoft.com/office/powerpoint/2010/main" xmlns:a14="http://schemas.microsoft.com/office/drawing/2010/main" xmlns="" id="{7F70320F-CFB0-46CE-B0CB-765F25CC79E1}"/>
                </a:ext>
              </a:extLst>
            </p:cNvPr>
            <p:cNvSpPr>
              <a:spLocks noChangeArrowheads="1"/>
            </p:cNvSpPr>
            <p:nvPr/>
          </p:nvSpPr>
          <p:spPr bwMode="auto">
            <a:xfrm>
              <a:off x="5293852" y="2138342"/>
              <a:ext cx="80193" cy="80494"/>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8" name="Freeform 18">
              <a:extLst>
                <a:ext uri="{FF2B5EF4-FFF2-40B4-BE49-F238E27FC236}">
                  <a16:creationId xmlns:a16="http://schemas.microsoft.com/office/drawing/2014/main" xmlns:p14="http://schemas.microsoft.com/office/powerpoint/2010/main" xmlns:a14="http://schemas.microsoft.com/office/drawing/2010/main" xmlns="" id="{06C97715-B4C3-41BA-BCBA-D4F078BE20EB}"/>
                </a:ext>
              </a:extLst>
            </p:cNvPr>
            <p:cNvSpPr>
              <a:spLocks/>
            </p:cNvSpPr>
            <p:nvPr/>
          </p:nvSpPr>
          <p:spPr bwMode="auto">
            <a:xfrm>
              <a:off x="5604436" y="2349966"/>
              <a:ext cx="669536" cy="211624"/>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9" name="Rectangle 19">
              <a:extLst>
                <a:ext uri="{FF2B5EF4-FFF2-40B4-BE49-F238E27FC236}">
                  <a16:creationId xmlns:a16="http://schemas.microsoft.com/office/drawing/2014/main" xmlns:p14="http://schemas.microsoft.com/office/powerpoint/2010/main" xmlns:a14="http://schemas.microsoft.com/office/drawing/2010/main" xmlns="" id="{3FE38F1D-2F74-447A-9229-7248475B55ED}"/>
                </a:ext>
              </a:extLst>
            </p:cNvPr>
            <p:cNvSpPr>
              <a:spLocks noChangeArrowheads="1"/>
            </p:cNvSpPr>
            <p:nvPr/>
          </p:nvSpPr>
          <p:spPr bwMode="auto">
            <a:xfrm>
              <a:off x="5766092" y="2423969"/>
              <a:ext cx="323313" cy="63617"/>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0" name="Freeform 20">
              <a:extLst>
                <a:ext uri="{FF2B5EF4-FFF2-40B4-BE49-F238E27FC236}">
                  <a16:creationId xmlns:a16="http://schemas.microsoft.com/office/drawing/2014/main" xmlns:p14="http://schemas.microsoft.com/office/powerpoint/2010/main" xmlns:a14="http://schemas.microsoft.com/office/drawing/2010/main" xmlns="" id="{59FB75A4-6A40-4880-A7F8-5852FF741217}"/>
                </a:ext>
              </a:extLst>
            </p:cNvPr>
            <p:cNvSpPr>
              <a:spLocks/>
            </p:cNvSpPr>
            <p:nvPr/>
          </p:nvSpPr>
          <p:spPr bwMode="auto">
            <a:xfrm>
              <a:off x="4974358" y="2405792"/>
              <a:ext cx="308037" cy="63617"/>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1" name="Freeform 21">
              <a:extLst>
                <a:ext uri="{FF2B5EF4-FFF2-40B4-BE49-F238E27FC236}">
                  <a16:creationId xmlns:a16="http://schemas.microsoft.com/office/drawing/2014/main" xmlns:p14="http://schemas.microsoft.com/office/powerpoint/2010/main" xmlns:a14="http://schemas.microsoft.com/office/drawing/2010/main" xmlns="" id="{E139472C-0020-4EA9-82FF-4CE53DFDB91B}"/>
                </a:ext>
              </a:extLst>
            </p:cNvPr>
            <p:cNvSpPr>
              <a:spLocks/>
            </p:cNvSpPr>
            <p:nvPr/>
          </p:nvSpPr>
          <p:spPr bwMode="auto">
            <a:xfrm>
              <a:off x="6534914" y="2405792"/>
              <a:ext cx="306765" cy="63617"/>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2" name="Freeform 22">
              <a:extLst>
                <a:ext uri="{FF2B5EF4-FFF2-40B4-BE49-F238E27FC236}">
                  <a16:creationId xmlns:a16="http://schemas.microsoft.com/office/drawing/2014/main" xmlns:p14="http://schemas.microsoft.com/office/powerpoint/2010/main" xmlns:a14="http://schemas.microsoft.com/office/drawing/2010/main" xmlns="" id="{27617993-F16B-4E93-95CA-E1BE3120C21F}"/>
                </a:ext>
              </a:extLst>
            </p:cNvPr>
            <p:cNvSpPr>
              <a:spLocks/>
            </p:cNvSpPr>
            <p:nvPr/>
          </p:nvSpPr>
          <p:spPr bwMode="auto">
            <a:xfrm>
              <a:off x="7117894" y="2405792"/>
              <a:ext cx="306765" cy="63617"/>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3" name="Freeform 23">
              <a:extLst>
                <a:ext uri="{FF2B5EF4-FFF2-40B4-BE49-F238E27FC236}">
                  <a16:creationId xmlns:a16="http://schemas.microsoft.com/office/drawing/2014/main" xmlns:p14="http://schemas.microsoft.com/office/powerpoint/2010/main" xmlns:a14="http://schemas.microsoft.com/office/drawing/2010/main" xmlns="" id="{69FD1E44-430C-4F82-BCBB-E6FB7DC74782}"/>
                </a:ext>
              </a:extLst>
            </p:cNvPr>
            <p:cNvSpPr>
              <a:spLocks/>
            </p:cNvSpPr>
            <p:nvPr/>
          </p:nvSpPr>
          <p:spPr bwMode="auto">
            <a:xfrm>
              <a:off x="7700875" y="2405792"/>
              <a:ext cx="306765" cy="63617"/>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06" name="任意多边形: 形状 1105">
              <a:extLst>
                <a:ext uri="{FF2B5EF4-FFF2-40B4-BE49-F238E27FC236}">
                  <a16:creationId xmlns:a16="http://schemas.microsoft.com/office/drawing/2014/main" xmlns:p14="http://schemas.microsoft.com/office/powerpoint/2010/main" xmlns:a14="http://schemas.microsoft.com/office/drawing/2010/main" xmlns="" id="{A138CBCE-9F42-49A3-BE88-2D66367E5DD9}"/>
                </a:ext>
              </a:extLst>
            </p:cNvPr>
            <p:cNvSpPr>
              <a:spLocks/>
            </p:cNvSpPr>
            <p:nvPr/>
          </p:nvSpPr>
          <p:spPr>
            <a:xfrm>
              <a:off x="4537757" y="3442511"/>
              <a:ext cx="697541" cy="205836"/>
            </a:xfrm>
            <a:custGeom>
              <a:avLst/>
              <a:gdLst>
                <a:gd name="connsiteX0" fmla="*/ 29553 w 1189177"/>
                <a:gd name="connsiteY0" fmla="*/ 0 h 385548"/>
                <a:gd name="connsiteX1" fmla="*/ 1159624 w 1189177"/>
                <a:gd name="connsiteY1" fmla="*/ 0 h 385548"/>
                <a:gd name="connsiteX2" fmla="*/ 1189177 w 1189177"/>
                <a:gd name="connsiteY2" fmla="*/ 29553 h 385548"/>
                <a:gd name="connsiteX3" fmla="*/ 1189177 w 1189177"/>
                <a:gd name="connsiteY3" fmla="*/ 385548 h 385548"/>
                <a:gd name="connsiteX4" fmla="*/ 0 w 1189177"/>
                <a:gd name="connsiteY4" fmla="*/ 385548 h 385548"/>
                <a:gd name="connsiteX5" fmla="*/ 0 w 1189177"/>
                <a:gd name="connsiteY5" fmla="*/ 29553 h 385548"/>
                <a:gd name="connsiteX6" fmla="*/ 29553 w 1189177"/>
                <a:gd name="connsiteY6" fmla="*/ 0 h 385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177" h="385548">
                  <a:moveTo>
                    <a:pt x="29553" y="0"/>
                  </a:moveTo>
                  <a:lnTo>
                    <a:pt x="1159624" y="0"/>
                  </a:lnTo>
                  <a:cubicBezTo>
                    <a:pt x="1175946" y="0"/>
                    <a:pt x="1189177" y="13231"/>
                    <a:pt x="1189177" y="29553"/>
                  </a:cubicBezTo>
                  <a:lnTo>
                    <a:pt x="1189177" y="385548"/>
                  </a:lnTo>
                  <a:lnTo>
                    <a:pt x="0" y="385548"/>
                  </a:lnTo>
                  <a:lnTo>
                    <a:pt x="0" y="29553"/>
                  </a:lnTo>
                  <a:cubicBezTo>
                    <a:pt x="0" y="13231"/>
                    <a:pt x="13231" y="0"/>
                    <a:pt x="29553" y="0"/>
                  </a:cubicBezTo>
                  <a:close/>
                </a:path>
              </a:pathLst>
            </a:custGeom>
            <a:solidFill>
              <a:srgbClr val="867D98">
                <a:lumMod val="20000"/>
                <a:lumOff val="80000"/>
              </a:srgbClr>
            </a:solidFill>
            <a:ln w="38100" cap="flat" cmpd="sng" algn="ctr">
              <a:noFill/>
              <a:prstDash val="solid"/>
              <a:miter lim="800000"/>
            </a:ln>
            <a:effectLst/>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grpSp>
          <p:nvGrpSpPr>
            <p:cNvPr id="1107" name="组合 1106">
              <a:extLst>
                <a:ext uri="{FF2B5EF4-FFF2-40B4-BE49-F238E27FC236}">
                  <a16:creationId xmlns:a16="http://schemas.microsoft.com/office/drawing/2014/main" xmlns:p14="http://schemas.microsoft.com/office/powerpoint/2010/main" xmlns:a14="http://schemas.microsoft.com/office/drawing/2010/main" xmlns="" id="{D0A53F62-7EC8-4EC8-95AD-0768F498C341}"/>
                </a:ext>
              </a:extLst>
            </p:cNvPr>
            <p:cNvGrpSpPr/>
            <p:nvPr/>
          </p:nvGrpSpPr>
          <p:grpSpPr>
            <a:xfrm>
              <a:off x="4594421" y="3700293"/>
              <a:ext cx="584212" cy="81394"/>
              <a:chOff x="890763" y="3168433"/>
              <a:chExt cx="1107466" cy="151273"/>
            </a:xfrm>
          </p:grpSpPr>
          <p:grpSp>
            <p:nvGrpSpPr>
              <p:cNvPr id="1108" name="组合 1107">
                <a:extLst>
                  <a:ext uri="{FF2B5EF4-FFF2-40B4-BE49-F238E27FC236}">
                    <a16:creationId xmlns:a16="http://schemas.microsoft.com/office/drawing/2014/main" xmlns:p14="http://schemas.microsoft.com/office/powerpoint/2010/main" xmlns:a14="http://schemas.microsoft.com/office/drawing/2010/main" xmlns="" id="{A5A0F9C8-0652-41EF-B223-D59CB4B5304E}"/>
                  </a:ext>
                </a:extLst>
              </p:cNvPr>
              <p:cNvGrpSpPr/>
              <p:nvPr/>
            </p:nvGrpSpPr>
            <p:grpSpPr>
              <a:xfrm>
                <a:off x="890763" y="3168433"/>
                <a:ext cx="288000" cy="151273"/>
                <a:chOff x="890763" y="3187237"/>
                <a:chExt cx="288000" cy="151273"/>
              </a:xfrm>
            </p:grpSpPr>
            <p:sp>
              <p:nvSpPr>
                <p:cNvPr id="1115" name="矩形 1114">
                  <a:extLst>
                    <a:ext uri="{FF2B5EF4-FFF2-40B4-BE49-F238E27FC236}">
                      <a16:creationId xmlns:a16="http://schemas.microsoft.com/office/drawing/2014/main" xmlns:p14="http://schemas.microsoft.com/office/powerpoint/2010/main" xmlns:a14="http://schemas.microsoft.com/office/drawing/2010/main" xmlns="" id="{602858E2-E07B-4103-91F1-8339BB8CB407}"/>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6" name="矩形 1115">
                  <a:extLst>
                    <a:ext uri="{FF2B5EF4-FFF2-40B4-BE49-F238E27FC236}">
                      <a16:creationId xmlns:a16="http://schemas.microsoft.com/office/drawing/2014/main" xmlns:p14="http://schemas.microsoft.com/office/powerpoint/2010/main" xmlns:a14="http://schemas.microsoft.com/office/drawing/2010/main" xmlns="" id="{2BE97B6F-56B1-4F66-8A28-DB0ACCE1F238}"/>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09" name="组合 1108">
                <a:extLst>
                  <a:ext uri="{FF2B5EF4-FFF2-40B4-BE49-F238E27FC236}">
                    <a16:creationId xmlns:a16="http://schemas.microsoft.com/office/drawing/2014/main" xmlns:p14="http://schemas.microsoft.com/office/powerpoint/2010/main" xmlns:a14="http://schemas.microsoft.com/office/drawing/2010/main" xmlns="" id="{6FBB44BF-2DC9-4274-B3BE-14F8D101FF12}"/>
                  </a:ext>
                </a:extLst>
              </p:cNvPr>
              <p:cNvGrpSpPr/>
              <p:nvPr/>
            </p:nvGrpSpPr>
            <p:grpSpPr>
              <a:xfrm>
                <a:off x="1300496" y="3168433"/>
                <a:ext cx="288000" cy="151273"/>
                <a:chOff x="890763" y="3187237"/>
                <a:chExt cx="288000" cy="151273"/>
              </a:xfrm>
            </p:grpSpPr>
            <p:sp>
              <p:nvSpPr>
                <p:cNvPr id="1113" name="矩形 1112">
                  <a:extLst>
                    <a:ext uri="{FF2B5EF4-FFF2-40B4-BE49-F238E27FC236}">
                      <a16:creationId xmlns:a16="http://schemas.microsoft.com/office/drawing/2014/main" xmlns:p14="http://schemas.microsoft.com/office/powerpoint/2010/main" xmlns:a14="http://schemas.microsoft.com/office/drawing/2010/main" xmlns="" id="{D0A543CC-1E59-4E7A-9FD4-ED7F51364542}"/>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4" name="矩形 1113">
                  <a:extLst>
                    <a:ext uri="{FF2B5EF4-FFF2-40B4-BE49-F238E27FC236}">
                      <a16:creationId xmlns:a16="http://schemas.microsoft.com/office/drawing/2014/main" xmlns:p14="http://schemas.microsoft.com/office/powerpoint/2010/main" xmlns:a14="http://schemas.microsoft.com/office/drawing/2010/main" xmlns="" id="{53ECCFBC-67A4-438C-A658-28933614D5BE}"/>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10" name="组合 1109">
                <a:extLst>
                  <a:ext uri="{FF2B5EF4-FFF2-40B4-BE49-F238E27FC236}">
                    <a16:creationId xmlns:a16="http://schemas.microsoft.com/office/drawing/2014/main" xmlns:p14="http://schemas.microsoft.com/office/powerpoint/2010/main" xmlns:a14="http://schemas.microsoft.com/office/drawing/2010/main" xmlns="" id="{1950F0DF-636E-4C20-8A39-A590932B09C9}"/>
                  </a:ext>
                </a:extLst>
              </p:cNvPr>
              <p:cNvGrpSpPr/>
              <p:nvPr/>
            </p:nvGrpSpPr>
            <p:grpSpPr>
              <a:xfrm>
                <a:off x="1710229" y="3168433"/>
                <a:ext cx="288000" cy="151273"/>
                <a:chOff x="890763" y="3187237"/>
                <a:chExt cx="288000" cy="151273"/>
              </a:xfrm>
            </p:grpSpPr>
            <p:sp>
              <p:nvSpPr>
                <p:cNvPr id="1111" name="矩形 1110">
                  <a:extLst>
                    <a:ext uri="{FF2B5EF4-FFF2-40B4-BE49-F238E27FC236}">
                      <a16:creationId xmlns:a16="http://schemas.microsoft.com/office/drawing/2014/main" xmlns:p14="http://schemas.microsoft.com/office/powerpoint/2010/main" xmlns:a14="http://schemas.microsoft.com/office/drawing/2010/main" xmlns="" id="{A155807A-CF95-403F-ACF9-0CB0E279FCC3}"/>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2" name="矩形 1111">
                  <a:extLst>
                    <a:ext uri="{FF2B5EF4-FFF2-40B4-BE49-F238E27FC236}">
                      <a16:creationId xmlns:a16="http://schemas.microsoft.com/office/drawing/2014/main" xmlns:p14="http://schemas.microsoft.com/office/powerpoint/2010/main" xmlns:a14="http://schemas.microsoft.com/office/drawing/2010/main" xmlns="" id="{375E0330-DAA0-480C-BA10-A421C0F2D7CC}"/>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1105" name="矩形: 圆角 1104">
              <a:extLst>
                <a:ext uri="{FF2B5EF4-FFF2-40B4-BE49-F238E27FC236}">
                  <a16:creationId xmlns:a16="http://schemas.microsoft.com/office/drawing/2014/main" xmlns:p14="http://schemas.microsoft.com/office/powerpoint/2010/main" xmlns:a14="http://schemas.microsoft.com/office/drawing/2010/main" xmlns="" id="{5ADAA714-B77B-4CA9-BA00-89F03E8DDAE8}"/>
                </a:ext>
              </a:extLst>
            </p:cNvPr>
            <p:cNvSpPr>
              <a:spLocks noChangeAspect="1"/>
            </p:cNvSpPr>
            <p:nvPr/>
          </p:nvSpPr>
          <p:spPr>
            <a:xfrm>
              <a:off x="4537757" y="3442511"/>
              <a:ext cx="697541" cy="400205"/>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122" name="组合 1121">
              <a:extLst>
                <a:ext uri="{FF2B5EF4-FFF2-40B4-BE49-F238E27FC236}">
                  <a16:creationId xmlns:a16="http://schemas.microsoft.com/office/drawing/2014/main" xmlns:p14="http://schemas.microsoft.com/office/powerpoint/2010/main" xmlns:a14="http://schemas.microsoft.com/office/drawing/2010/main" xmlns="" id="{9E6E783D-953A-4023-996B-329ABEE00C08}"/>
                </a:ext>
              </a:extLst>
            </p:cNvPr>
            <p:cNvGrpSpPr/>
            <p:nvPr/>
          </p:nvGrpSpPr>
          <p:grpSpPr>
            <a:xfrm>
              <a:off x="5661334" y="3313021"/>
              <a:ext cx="2861662" cy="1318925"/>
              <a:chOff x="890763" y="2819277"/>
              <a:chExt cx="1107467" cy="500429"/>
            </a:xfrm>
          </p:grpSpPr>
          <p:grpSp>
            <p:nvGrpSpPr>
              <p:cNvPr id="1123" name="组合 1122">
                <a:extLst>
                  <a:ext uri="{FF2B5EF4-FFF2-40B4-BE49-F238E27FC236}">
                    <a16:creationId xmlns:a16="http://schemas.microsoft.com/office/drawing/2014/main" xmlns:p14="http://schemas.microsoft.com/office/powerpoint/2010/main" xmlns:a14="http://schemas.microsoft.com/office/drawing/2010/main" xmlns="" id="{7A654AB9-A15A-45E1-B556-4C0C59300B7D}"/>
                  </a:ext>
                </a:extLst>
              </p:cNvPr>
              <p:cNvGrpSpPr/>
              <p:nvPr/>
            </p:nvGrpSpPr>
            <p:grpSpPr>
              <a:xfrm>
                <a:off x="890763" y="2819277"/>
                <a:ext cx="1107467" cy="500429"/>
                <a:chOff x="890763" y="2838081"/>
                <a:chExt cx="1107467" cy="500429"/>
              </a:xfrm>
            </p:grpSpPr>
            <p:sp>
              <p:nvSpPr>
                <p:cNvPr id="1130" name="矩形 1129">
                  <a:extLst>
                    <a:ext uri="{FF2B5EF4-FFF2-40B4-BE49-F238E27FC236}">
                      <a16:creationId xmlns:a16="http://schemas.microsoft.com/office/drawing/2014/main" xmlns:p14="http://schemas.microsoft.com/office/powerpoint/2010/main" xmlns:a14="http://schemas.microsoft.com/office/drawing/2010/main" xmlns="" id="{4331E087-73F3-40AD-B97E-31C8A67EF143}"/>
                    </a:ext>
                  </a:extLst>
                </p:cNvPr>
                <p:cNvSpPr/>
                <p:nvPr/>
              </p:nvSpPr>
              <p:spPr>
                <a:xfrm>
                  <a:off x="890763" y="3187237"/>
                  <a:ext cx="288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1" name="矩形 1130">
                  <a:extLst>
                    <a:ext uri="{FF2B5EF4-FFF2-40B4-BE49-F238E27FC236}">
                      <a16:creationId xmlns:a16="http://schemas.microsoft.com/office/drawing/2014/main" xmlns:p14="http://schemas.microsoft.com/office/powerpoint/2010/main" xmlns:a14="http://schemas.microsoft.com/office/drawing/2010/main" xmlns="" id="{1ED8F3BF-52DC-4B14-A264-67C3CD84F2A8}"/>
                    </a:ext>
                  </a:extLst>
                </p:cNvPr>
                <p:cNvSpPr/>
                <p:nvPr/>
              </p:nvSpPr>
              <p:spPr>
                <a:xfrm>
                  <a:off x="890763" y="3284510"/>
                  <a:ext cx="216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2" name="矩形 1131">
                  <a:extLst>
                    <a:ext uri="{FF2B5EF4-FFF2-40B4-BE49-F238E27FC236}">
                      <a16:creationId xmlns:a16="http://schemas.microsoft.com/office/drawing/2014/main" xmlns:p14="http://schemas.microsoft.com/office/powerpoint/2010/main" xmlns:a14="http://schemas.microsoft.com/office/drawing/2010/main" xmlns="" id="{2D9A077E-09F8-4C75-82D1-571C10ED9061}"/>
                    </a:ext>
                  </a:extLst>
                </p:cNvPr>
                <p:cNvSpPr/>
                <p:nvPr/>
              </p:nvSpPr>
              <p:spPr>
                <a:xfrm>
                  <a:off x="1134834" y="2838081"/>
                  <a:ext cx="619325" cy="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3" name="矩形 1132">
                  <a:extLst>
                    <a:ext uri="{FF2B5EF4-FFF2-40B4-BE49-F238E27FC236}">
                      <a16:creationId xmlns:a16="http://schemas.microsoft.com/office/drawing/2014/main" xmlns:p14="http://schemas.microsoft.com/office/powerpoint/2010/main" xmlns:a14="http://schemas.microsoft.com/office/drawing/2010/main" xmlns="" id="{6F6F8248-8A85-4F12-B208-2FC76B2A096C}"/>
                    </a:ext>
                  </a:extLst>
                </p:cNvPr>
                <p:cNvSpPr/>
                <p:nvPr/>
              </p:nvSpPr>
              <p:spPr>
                <a:xfrm>
                  <a:off x="890763" y="2935354"/>
                  <a:ext cx="1107467" cy="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24" name="组合 1123">
                <a:extLst>
                  <a:ext uri="{FF2B5EF4-FFF2-40B4-BE49-F238E27FC236}">
                    <a16:creationId xmlns:a16="http://schemas.microsoft.com/office/drawing/2014/main" xmlns:p14="http://schemas.microsoft.com/office/powerpoint/2010/main" xmlns:a14="http://schemas.microsoft.com/office/drawing/2010/main" xmlns="" id="{E1EE6C0C-7722-4415-9A98-42B7AC8ADB91}"/>
                  </a:ext>
                </a:extLst>
              </p:cNvPr>
              <p:cNvGrpSpPr/>
              <p:nvPr/>
            </p:nvGrpSpPr>
            <p:grpSpPr>
              <a:xfrm>
                <a:off x="1300496" y="3168433"/>
                <a:ext cx="288000" cy="151273"/>
                <a:chOff x="890763" y="3187237"/>
                <a:chExt cx="288000" cy="151273"/>
              </a:xfrm>
            </p:grpSpPr>
            <p:sp>
              <p:nvSpPr>
                <p:cNvPr id="1128" name="矩形 1127">
                  <a:extLst>
                    <a:ext uri="{FF2B5EF4-FFF2-40B4-BE49-F238E27FC236}">
                      <a16:creationId xmlns:a16="http://schemas.microsoft.com/office/drawing/2014/main" xmlns:p14="http://schemas.microsoft.com/office/powerpoint/2010/main" xmlns:a14="http://schemas.microsoft.com/office/drawing/2010/main" xmlns="" id="{EE85E310-6383-4A33-9839-1080AB048D39}"/>
                    </a:ext>
                  </a:extLst>
                </p:cNvPr>
                <p:cNvSpPr/>
                <p:nvPr/>
              </p:nvSpPr>
              <p:spPr>
                <a:xfrm>
                  <a:off x="890763" y="3187237"/>
                  <a:ext cx="288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9" name="矩形 1128">
                  <a:extLst>
                    <a:ext uri="{FF2B5EF4-FFF2-40B4-BE49-F238E27FC236}">
                      <a16:creationId xmlns:a16="http://schemas.microsoft.com/office/drawing/2014/main" xmlns:p14="http://schemas.microsoft.com/office/powerpoint/2010/main" xmlns:a14="http://schemas.microsoft.com/office/drawing/2010/main" xmlns="" id="{92A8C4BC-E581-4771-8564-C41486B27EDC}"/>
                    </a:ext>
                  </a:extLst>
                </p:cNvPr>
                <p:cNvSpPr/>
                <p:nvPr/>
              </p:nvSpPr>
              <p:spPr>
                <a:xfrm>
                  <a:off x="890763" y="3284510"/>
                  <a:ext cx="216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25" name="组合 1124">
                <a:extLst>
                  <a:ext uri="{FF2B5EF4-FFF2-40B4-BE49-F238E27FC236}">
                    <a16:creationId xmlns:a16="http://schemas.microsoft.com/office/drawing/2014/main" xmlns:p14="http://schemas.microsoft.com/office/powerpoint/2010/main" xmlns:a14="http://schemas.microsoft.com/office/drawing/2010/main" xmlns="" id="{1E09A5A0-1198-49B9-91F7-683A4D269955}"/>
                  </a:ext>
                </a:extLst>
              </p:cNvPr>
              <p:cNvGrpSpPr/>
              <p:nvPr/>
            </p:nvGrpSpPr>
            <p:grpSpPr>
              <a:xfrm>
                <a:off x="1710229" y="3168433"/>
                <a:ext cx="288000" cy="151273"/>
                <a:chOff x="890763" y="3187237"/>
                <a:chExt cx="288000" cy="151273"/>
              </a:xfrm>
            </p:grpSpPr>
            <p:sp>
              <p:nvSpPr>
                <p:cNvPr id="1126" name="矩形 1125">
                  <a:extLst>
                    <a:ext uri="{FF2B5EF4-FFF2-40B4-BE49-F238E27FC236}">
                      <a16:creationId xmlns:a16="http://schemas.microsoft.com/office/drawing/2014/main" xmlns:p14="http://schemas.microsoft.com/office/powerpoint/2010/main" xmlns:a14="http://schemas.microsoft.com/office/drawing/2010/main" xmlns="" id="{EB6719D3-6DDD-45CA-9401-20D42A145160}"/>
                    </a:ext>
                  </a:extLst>
                </p:cNvPr>
                <p:cNvSpPr/>
                <p:nvPr/>
              </p:nvSpPr>
              <p:spPr>
                <a:xfrm>
                  <a:off x="890763" y="3187237"/>
                  <a:ext cx="288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7" name="矩形 1126">
                  <a:extLst>
                    <a:ext uri="{FF2B5EF4-FFF2-40B4-BE49-F238E27FC236}">
                      <a16:creationId xmlns:a16="http://schemas.microsoft.com/office/drawing/2014/main" xmlns:p14="http://schemas.microsoft.com/office/powerpoint/2010/main" xmlns:a14="http://schemas.microsoft.com/office/drawing/2010/main" xmlns="" id="{3346F224-F564-4731-8D85-DE34A7D4D1B8}"/>
                    </a:ext>
                  </a:extLst>
                </p:cNvPr>
                <p:cNvSpPr/>
                <p:nvPr/>
              </p:nvSpPr>
              <p:spPr>
                <a:xfrm>
                  <a:off x="890763" y="3284510"/>
                  <a:ext cx="216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31" name="组合 30">
              <a:extLst>
                <a:ext uri="{FF2B5EF4-FFF2-40B4-BE49-F238E27FC236}">
                  <a16:creationId xmlns:a16="http://schemas.microsoft.com/office/drawing/2014/main" xmlns:p14="http://schemas.microsoft.com/office/powerpoint/2010/main" xmlns:a14="http://schemas.microsoft.com/office/drawing/2010/main" xmlns="" id="{170293B6-FA82-4064-B08C-0806B8D56359}"/>
                </a:ext>
              </a:extLst>
            </p:cNvPr>
            <p:cNvGrpSpPr>
              <a:grpSpLocks/>
            </p:cNvGrpSpPr>
            <p:nvPr/>
          </p:nvGrpSpPr>
          <p:grpSpPr>
            <a:xfrm>
              <a:off x="4594421" y="3512445"/>
              <a:ext cx="584213" cy="81394"/>
              <a:chOff x="4267627" y="3525007"/>
              <a:chExt cx="584213" cy="96039"/>
            </a:xfrm>
          </p:grpSpPr>
          <p:sp>
            <p:nvSpPr>
              <p:cNvPr id="1160" name="矩形 1159">
                <a:extLst>
                  <a:ext uri="{FF2B5EF4-FFF2-40B4-BE49-F238E27FC236}">
                    <a16:creationId xmlns:a16="http://schemas.microsoft.com/office/drawing/2014/main" xmlns:p14="http://schemas.microsoft.com/office/powerpoint/2010/main" xmlns:a14="http://schemas.microsoft.com/office/drawing/2010/main" xmlns="" id="{72B68B0F-9CBE-473C-B0F3-F80233567427}"/>
                  </a:ext>
                </a:extLst>
              </p:cNvPr>
              <p:cNvSpPr/>
              <p:nvPr/>
            </p:nvSpPr>
            <p:spPr>
              <a:xfrm>
                <a:off x="4396380" y="3525007"/>
                <a:ext cx="326707" cy="342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61" name="矩形 1160">
                <a:extLst>
                  <a:ext uri="{FF2B5EF4-FFF2-40B4-BE49-F238E27FC236}">
                    <a16:creationId xmlns:a16="http://schemas.microsoft.com/office/drawing/2014/main" xmlns:p14="http://schemas.microsoft.com/office/powerpoint/2010/main" xmlns:a14="http://schemas.microsoft.com/office/drawing/2010/main" xmlns="" id="{EA664DAD-6074-4BDF-950A-DC4E838A18A5}"/>
                  </a:ext>
                </a:extLst>
              </p:cNvPr>
              <p:cNvSpPr/>
              <p:nvPr/>
            </p:nvSpPr>
            <p:spPr>
              <a:xfrm>
                <a:off x="4267627" y="3586763"/>
                <a:ext cx="584213" cy="342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192" name="矩形: 圆角 1191">
              <a:extLst>
                <a:ext uri="{FF2B5EF4-FFF2-40B4-BE49-F238E27FC236}">
                  <a16:creationId xmlns:a16="http://schemas.microsoft.com/office/drawing/2014/main" xmlns:p14="http://schemas.microsoft.com/office/powerpoint/2010/main" xmlns:a14="http://schemas.microsoft.com/office/drawing/2010/main" xmlns="" id="{BA981F9A-9DAF-4D3F-98EF-64790A2A9ACE}"/>
                </a:ext>
              </a:extLst>
            </p:cNvPr>
            <p:cNvSpPr>
              <a:spLocks noChangeAspect="1"/>
            </p:cNvSpPr>
            <p:nvPr/>
          </p:nvSpPr>
          <p:spPr>
            <a:xfrm>
              <a:off x="4537757" y="3917063"/>
              <a:ext cx="697541" cy="400205"/>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93" name="矩形: 圆角 1192">
              <a:extLst>
                <a:ext uri="{FF2B5EF4-FFF2-40B4-BE49-F238E27FC236}">
                  <a16:creationId xmlns:a16="http://schemas.microsoft.com/office/drawing/2014/main" xmlns:p14="http://schemas.microsoft.com/office/powerpoint/2010/main" xmlns:a14="http://schemas.microsoft.com/office/drawing/2010/main" xmlns="" id="{45DBE396-CD6F-4032-A8DF-9AD6392A9FD3}"/>
                </a:ext>
              </a:extLst>
            </p:cNvPr>
            <p:cNvSpPr>
              <a:spLocks noChangeAspect="1"/>
            </p:cNvSpPr>
            <p:nvPr/>
          </p:nvSpPr>
          <p:spPr>
            <a:xfrm>
              <a:off x="4537757" y="4391615"/>
              <a:ext cx="697541" cy="400205"/>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98" name="任意多边形: 形状 1197">
              <a:extLst>
                <a:ext uri="{FF2B5EF4-FFF2-40B4-BE49-F238E27FC236}">
                  <a16:creationId xmlns:a16="http://schemas.microsoft.com/office/drawing/2014/main" xmlns:p14="http://schemas.microsoft.com/office/powerpoint/2010/main" xmlns:a14="http://schemas.microsoft.com/office/drawing/2010/main" xmlns="" id="{84DDD30D-950B-4F9A-8A49-735AE8AC0AFD}"/>
                </a:ext>
              </a:extLst>
            </p:cNvPr>
            <p:cNvSpPr>
              <a:spLocks noChangeAspect="1"/>
            </p:cNvSpPr>
            <p:nvPr/>
          </p:nvSpPr>
          <p:spPr>
            <a:xfrm>
              <a:off x="5383774" y="2967959"/>
              <a:ext cx="3416779" cy="1013353"/>
            </a:xfrm>
            <a:custGeom>
              <a:avLst/>
              <a:gdLst>
                <a:gd name="connsiteX0" fmla="*/ 55458 w 3416779"/>
                <a:gd name="connsiteY0" fmla="*/ 0 h 1013353"/>
                <a:gd name="connsiteX1" fmla="*/ 3361321 w 3416779"/>
                <a:gd name="connsiteY1" fmla="*/ 0 h 1013353"/>
                <a:gd name="connsiteX2" fmla="*/ 3416779 w 3416779"/>
                <a:gd name="connsiteY2" fmla="*/ 55458 h 1013353"/>
                <a:gd name="connsiteX3" fmla="*/ 3416779 w 3416779"/>
                <a:gd name="connsiteY3" fmla="*/ 1013353 h 1013353"/>
                <a:gd name="connsiteX4" fmla="*/ 0 w 3416779"/>
                <a:gd name="connsiteY4" fmla="*/ 1013353 h 1013353"/>
                <a:gd name="connsiteX5" fmla="*/ 0 w 3416779"/>
                <a:gd name="connsiteY5" fmla="*/ 55458 h 1013353"/>
                <a:gd name="connsiteX6" fmla="*/ 55458 w 3416779"/>
                <a:gd name="connsiteY6" fmla="*/ 0 h 1013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6779" h="1013353">
                  <a:moveTo>
                    <a:pt x="55458" y="0"/>
                  </a:moveTo>
                  <a:lnTo>
                    <a:pt x="3361321" y="0"/>
                  </a:lnTo>
                  <a:cubicBezTo>
                    <a:pt x="3391950" y="0"/>
                    <a:pt x="3416779" y="24829"/>
                    <a:pt x="3416779" y="55458"/>
                  </a:cubicBezTo>
                  <a:lnTo>
                    <a:pt x="3416779" y="1013353"/>
                  </a:lnTo>
                  <a:lnTo>
                    <a:pt x="0" y="1013353"/>
                  </a:lnTo>
                  <a:lnTo>
                    <a:pt x="0" y="55458"/>
                  </a:lnTo>
                  <a:cubicBezTo>
                    <a:pt x="0" y="24829"/>
                    <a:pt x="24829" y="0"/>
                    <a:pt x="55458" y="0"/>
                  </a:cubicBezTo>
                  <a:close/>
                </a:path>
              </a:pathLst>
            </a:custGeom>
            <a:solidFill>
              <a:srgbClr val="F0EEF2"/>
            </a:solidFill>
            <a:ln w="25400">
              <a:gradFill>
                <a:gsLst>
                  <a:gs pos="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96" name="组合 195">
              <a:extLst>
                <a:ext uri="{FF2B5EF4-FFF2-40B4-BE49-F238E27FC236}">
                  <a16:creationId xmlns:a16="http://schemas.microsoft.com/office/drawing/2014/main" xmlns:p14="http://schemas.microsoft.com/office/powerpoint/2010/main" xmlns:a14="http://schemas.microsoft.com/office/drawing/2010/main" xmlns="" id="{AC643BCA-3BB0-4B9D-81A0-6C5B84A1F99C}"/>
                </a:ext>
              </a:extLst>
            </p:cNvPr>
            <p:cNvGrpSpPr/>
            <p:nvPr/>
          </p:nvGrpSpPr>
          <p:grpSpPr>
            <a:xfrm>
              <a:off x="5661334" y="3276855"/>
              <a:ext cx="2839176" cy="395561"/>
              <a:chOff x="6607371" y="3447302"/>
              <a:chExt cx="584213" cy="81394"/>
            </a:xfrm>
          </p:grpSpPr>
          <p:sp>
            <p:nvSpPr>
              <p:cNvPr id="1201" name="矩形 1200">
                <a:extLst>
                  <a:ext uri="{FF2B5EF4-FFF2-40B4-BE49-F238E27FC236}">
                    <a16:creationId xmlns:a16="http://schemas.microsoft.com/office/drawing/2014/main" xmlns:p14="http://schemas.microsoft.com/office/powerpoint/2010/main" xmlns:a14="http://schemas.microsoft.com/office/drawing/2010/main" xmlns="" id="{D91D9877-7543-4F08-B43F-0DFFE662E9E6}"/>
                  </a:ext>
                </a:extLst>
              </p:cNvPr>
              <p:cNvSpPr/>
              <p:nvPr/>
            </p:nvSpPr>
            <p:spPr>
              <a:xfrm>
                <a:off x="6736124" y="3447302"/>
                <a:ext cx="326707"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02" name="矩形 1201">
                <a:extLst>
                  <a:ext uri="{FF2B5EF4-FFF2-40B4-BE49-F238E27FC236}">
                    <a16:creationId xmlns:a16="http://schemas.microsoft.com/office/drawing/2014/main" xmlns:p14="http://schemas.microsoft.com/office/powerpoint/2010/main" xmlns:a14="http://schemas.microsoft.com/office/drawing/2010/main" xmlns="" id="{32B0D4B6-D829-4A3C-8060-DAAC08AA4483}"/>
                  </a:ext>
                </a:extLst>
              </p:cNvPr>
              <p:cNvSpPr/>
              <p:nvPr/>
            </p:nvSpPr>
            <p:spPr>
              <a:xfrm>
                <a:off x="6607371" y="3499641"/>
                <a:ext cx="584213"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08" name="矩形: 圆角 1207">
              <a:extLst>
                <a:ext uri="{FF2B5EF4-FFF2-40B4-BE49-F238E27FC236}">
                  <a16:creationId xmlns:a16="http://schemas.microsoft.com/office/drawing/2014/main" xmlns:p14="http://schemas.microsoft.com/office/powerpoint/2010/main" xmlns:a14="http://schemas.microsoft.com/office/drawing/2010/main" xmlns="" id="{9C7A5DC9-080D-48A1-9895-7D9FDBEF81A3}"/>
                </a:ext>
              </a:extLst>
            </p:cNvPr>
            <p:cNvSpPr>
              <a:spLocks noChangeAspect="1"/>
            </p:cNvSpPr>
            <p:nvPr/>
          </p:nvSpPr>
          <p:spPr>
            <a:xfrm>
              <a:off x="4537757" y="4864702"/>
              <a:ext cx="697541" cy="164498"/>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95" name="矩形: 圆角 1194">
              <a:extLst>
                <a:ext uri="{FF2B5EF4-FFF2-40B4-BE49-F238E27FC236}">
                  <a16:creationId xmlns:a16="http://schemas.microsoft.com/office/drawing/2014/main" xmlns:p14="http://schemas.microsoft.com/office/powerpoint/2010/main" xmlns:a14="http://schemas.microsoft.com/office/drawing/2010/main" xmlns="" id="{58D625B9-C935-4337-BA60-59145751AA0F}"/>
                </a:ext>
              </a:extLst>
            </p:cNvPr>
            <p:cNvSpPr>
              <a:spLocks noChangeAspect="1"/>
            </p:cNvSpPr>
            <p:nvPr/>
          </p:nvSpPr>
          <p:spPr>
            <a:xfrm>
              <a:off x="5383774" y="2967958"/>
              <a:ext cx="3416779" cy="1960332"/>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142" name="标题 1">
            <a:extLst>
              <a:ext uri="{FF2B5EF4-FFF2-40B4-BE49-F238E27FC236}">
                <a16:creationId xmlns:a16="http://schemas.microsoft.com/office/drawing/2014/main" xmlns:p14="http://schemas.microsoft.com/office/powerpoint/2010/main" xmlns:a14="http://schemas.microsoft.com/office/drawing/2010/main" xmlns="" id="{B167232B-C94B-4B55-9BB9-3932D3048E90}"/>
              </a:ext>
            </a:extLst>
          </p:cNvPr>
          <p:cNvSpPr txBox="1">
            <a:spLocks/>
          </p:cNvSpPr>
          <p:nvPr/>
        </p:nvSpPr>
        <p:spPr>
          <a:xfrm>
            <a:off x="660400" y="-1"/>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快速设计页</a:t>
            </a:r>
            <a:r>
              <a:rPr lang="zh-CN" altLang="en-US" sz="2800" b="1"/>
              <a:t>面  </a:t>
            </a:r>
            <a:r>
              <a:rPr lang="en-US" altLang="zh-CN" sz="2800" b="1" smtClean="0"/>
              <a:t>Quick</a:t>
            </a:r>
            <a:r>
              <a:rPr lang="en-US" altLang="zh-CN" sz="100" b="1" smtClean="0"/>
              <a:t> </a:t>
            </a:r>
            <a:r>
              <a:rPr lang="en-US" altLang="zh-CN" sz="2800" b="1" smtClean="0"/>
              <a:t> </a:t>
            </a:r>
            <a:r>
              <a:rPr lang="en-US" altLang="zh-CN" sz="2800" b="1" dirty="0"/>
              <a:t>Slides Design</a:t>
            </a:r>
            <a:endParaRPr lang="zh-CN" altLang="en-US" sz="2800" b="1" dirty="0"/>
          </a:p>
        </p:txBody>
      </p:sp>
      <p:grpSp>
        <p:nvGrpSpPr>
          <p:cNvPr id="7" name="组合 6">
            <a:extLst>
              <a:ext uri="{FF2B5EF4-FFF2-40B4-BE49-F238E27FC236}">
                <a16:creationId xmlns:a16="http://schemas.microsoft.com/office/drawing/2014/main" xmlns:p14="http://schemas.microsoft.com/office/powerpoint/2010/main" xmlns:a14="http://schemas.microsoft.com/office/drawing/2010/main" xmlns="" id="{1F9F365A-2C24-41FD-B002-CB59D5D24B1C}"/>
              </a:ext>
            </a:extLst>
          </p:cNvPr>
          <p:cNvGrpSpPr/>
          <p:nvPr/>
        </p:nvGrpSpPr>
        <p:grpSpPr>
          <a:xfrm>
            <a:off x="2402783" y="3675081"/>
            <a:ext cx="990824" cy="138044"/>
            <a:chOff x="4746821" y="3664845"/>
            <a:chExt cx="584213" cy="81394"/>
          </a:xfrm>
        </p:grpSpPr>
        <p:sp>
          <p:nvSpPr>
            <p:cNvPr id="4" name="矩形 3">
              <a:extLst>
                <a:ext uri="{FF2B5EF4-FFF2-40B4-BE49-F238E27FC236}">
                  <a16:creationId xmlns:a16="http://schemas.microsoft.com/office/drawing/2014/main" xmlns:p14="http://schemas.microsoft.com/office/powerpoint/2010/main" xmlns:a14="http://schemas.microsoft.com/office/drawing/2010/main" xmlns="" id="{AB1FAD69-4D08-4E64-9C63-16E13C313BBE}"/>
                </a:ext>
              </a:extLst>
            </p:cNvPr>
            <p:cNvSpPr/>
            <p:nvPr/>
          </p:nvSpPr>
          <p:spPr>
            <a:xfrm>
              <a:off x="4875574" y="3664845"/>
              <a:ext cx="326707"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a:extLst>
                <a:ext uri="{FF2B5EF4-FFF2-40B4-BE49-F238E27FC236}">
                  <a16:creationId xmlns:a16="http://schemas.microsoft.com/office/drawing/2014/main" xmlns:p14="http://schemas.microsoft.com/office/powerpoint/2010/main" xmlns:a14="http://schemas.microsoft.com/office/drawing/2010/main" xmlns="" id="{AF65DC8F-823A-46D5-9360-28BA88F6A828}"/>
                </a:ext>
              </a:extLst>
            </p:cNvPr>
            <p:cNvSpPr/>
            <p:nvPr/>
          </p:nvSpPr>
          <p:spPr>
            <a:xfrm>
              <a:off x="4746821" y="3717184"/>
              <a:ext cx="584213"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矩形 1">
            <a:extLst>
              <a:ext uri="{FF2B5EF4-FFF2-40B4-BE49-F238E27FC236}">
                <a16:creationId xmlns:a16="http://schemas.microsoft.com/office/drawing/2014/main" xmlns:p14="http://schemas.microsoft.com/office/powerpoint/2010/main" xmlns:a14="http://schemas.microsoft.com/office/drawing/2010/main" xmlns="" id="{6D4473A2-7E5A-494A-B9DD-696441DA144B}"/>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内容。</a:t>
            </a:r>
          </a:p>
          <a:p>
            <a:pPr>
              <a:lnSpc>
                <a:spcPct val="120000"/>
              </a:lnSpc>
            </a:pPr>
            <a:r>
              <a:rPr lang="en-US" altLang="zh-CN" sz="800" dirty="0">
                <a:solidFill>
                  <a:schemeClr val="bg1"/>
                </a:solidFill>
              </a:rPr>
              <a:t>This slide is an instruction</a:t>
            </a:r>
            <a:r>
              <a:rPr lang="en-US" altLang="zh-CN" sz="800">
                <a:solidFill>
                  <a:schemeClr val="bg1"/>
                </a:solidFill>
              </a:rPr>
              <a:t>. </a:t>
            </a:r>
            <a:r>
              <a:rPr lang="en-US" altLang="zh-CN" sz="100" smtClean="0">
                <a:solidFill>
                  <a:schemeClr val="bg1"/>
                </a:solidFill>
              </a:rPr>
              <a:t> </a:t>
            </a:r>
            <a:r>
              <a:rPr lang="en-US" altLang="zh-CN" sz="800" smtClean="0">
                <a:solidFill>
                  <a:schemeClr val="bg1"/>
                </a:solidFill>
              </a:rPr>
              <a:t>Please </a:t>
            </a:r>
            <a:r>
              <a:rPr lang="en-US" altLang="zh-CN" sz="800" dirty="0">
                <a:solidFill>
                  <a:schemeClr val="bg1"/>
                </a:solidFill>
              </a:rPr>
              <a:t>delete this slide before using it for presentation.</a:t>
            </a:r>
          </a:p>
        </p:txBody>
      </p:sp>
    </p:spTree>
    <p:custDataLst>
      <p:tags r:id="rId1"/>
    </p:custDataLst>
    <p:extLst>
      <p:ext uri="{BB962C8B-B14F-4D97-AF65-F5344CB8AC3E}">
        <p14:creationId xmlns:p14="http://schemas.microsoft.com/office/powerpoint/2010/main" val="391521804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95" name="Rectangle 10">
            <a:extLst>
              <a:ext uri="{FF2B5EF4-FFF2-40B4-BE49-F238E27FC236}">
                <a16:creationId xmlns:a16="http://schemas.microsoft.com/office/drawing/2014/main" xmlns:p14="http://schemas.microsoft.com/office/powerpoint/2010/main" xmlns:a14="http://schemas.microsoft.com/office/drawing/2010/main" xmlns="" id="{EB08811A-69A0-4B03-AD69-4D4093A4A1A1}"/>
              </a:ext>
            </a:extLst>
          </p:cNvPr>
          <p:cNvSpPr>
            <a:spLocks noChangeArrowheads="1"/>
          </p:cNvSpPr>
          <p:nvPr/>
        </p:nvSpPr>
        <p:spPr bwMode="auto">
          <a:xfrm>
            <a:off x="809622" y="2219171"/>
            <a:ext cx="3659316" cy="17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5" name="组合 4">
            <a:extLst>
              <a:ext uri="{FF2B5EF4-FFF2-40B4-BE49-F238E27FC236}">
                <a16:creationId xmlns:a16="http://schemas.microsoft.com/office/drawing/2014/main" xmlns:p14="http://schemas.microsoft.com/office/powerpoint/2010/main" xmlns:a14="http://schemas.microsoft.com/office/drawing/2010/main" xmlns="" id="{48A2BA8E-E72F-4AD7-AC03-A69B802AD243}"/>
              </a:ext>
            </a:extLst>
          </p:cNvPr>
          <p:cNvGrpSpPr/>
          <p:nvPr/>
        </p:nvGrpSpPr>
        <p:grpSpPr>
          <a:xfrm>
            <a:off x="660400" y="5387494"/>
            <a:ext cx="3493913" cy="553998"/>
            <a:chOff x="673100" y="5387494"/>
            <a:chExt cx="3493913" cy="553998"/>
          </a:xfrm>
        </p:grpSpPr>
        <p:sp>
          <p:nvSpPr>
            <p:cNvPr id="351" name="文本框 350"/>
            <p:cNvSpPr txBox="1"/>
            <p:nvPr/>
          </p:nvSpPr>
          <p:spPr>
            <a:xfrm>
              <a:off x="994562" y="5387494"/>
              <a:ext cx="3172451" cy="553998"/>
            </a:xfrm>
            <a:prstGeom prst="rect">
              <a:avLst/>
            </a:prstGeom>
            <a:noFill/>
          </p:spPr>
          <p:txBody>
            <a:bodyPr wrap="square" rtlCol="0" anchor="ctr">
              <a:spAutoFit/>
            </a:bodyPr>
            <a:lstStyle/>
            <a:p>
              <a:r>
                <a:rPr lang="zh-CN" altLang="en-US" sz="1000" dirty="0">
                  <a:solidFill>
                    <a:srgbClr val="2F2F2F"/>
                  </a:solidFill>
                </a:rPr>
                <a:t>选中图示中的图标</a:t>
              </a:r>
              <a:endParaRPr lang="en-US" altLang="zh-CN" sz="1000" dirty="0">
                <a:solidFill>
                  <a:srgbClr val="2F2F2F"/>
                </a:solidFill>
              </a:endParaRPr>
            </a:p>
            <a:p>
              <a:r>
                <a:rPr lang="en-US" altLang="zh-CN" sz="1000" dirty="0">
                  <a:solidFill>
                    <a:srgbClr val="2F2F2F"/>
                  </a:solidFill>
                </a:rPr>
                <a:t>Select the icon </a:t>
              </a:r>
              <a:r>
                <a:rPr lang="en-US" altLang="zh-CN" sz="1000">
                  <a:solidFill>
                    <a:srgbClr val="2F2F2F"/>
                  </a:solidFill>
                </a:rPr>
                <a:t>that </a:t>
              </a:r>
              <a:r>
                <a:rPr lang="en-US" altLang="zh-CN" sz="1000" smtClean="0">
                  <a:solidFill>
                    <a:srgbClr val="2F2F2F"/>
                  </a:solidFill>
                </a:rPr>
                <a:t>n</a:t>
              </a:r>
              <a:r>
                <a:rPr lang="en-US" altLang="zh-CN" sz="100" smtClean="0">
                  <a:solidFill>
                    <a:srgbClr val="2F2F2F"/>
                  </a:solidFill>
                </a:rPr>
                <a:t> </a:t>
              </a:r>
              <a:r>
                <a:rPr lang="en-US" altLang="zh-CN" sz="1000" smtClean="0">
                  <a:solidFill>
                    <a:srgbClr val="2F2F2F"/>
                  </a:solidFill>
                </a:rPr>
                <a:t>eeds </a:t>
              </a:r>
              <a:r>
                <a:rPr lang="en-US" altLang="zh-CN" sz="1000" dirty="0">
                  <a:solidFill>
                    <a:srgbClr val="2F2F2F"/>
                  </a:solidFill>
                </a:rPr>
                <a:t>to be changed in the diagram</a:t>
              </a:r>
              <a:endParaRPr lang="zh-CN" altLang="en-US" sz="1000" dirty="0">
                <a:solidFill>
                  <a:srgbClr val="2F2F2F"/>
                </a:solidFill>
              </a:endParaRPr>
            </a:p>
          </p:txBody>
        </p:sp>
        <p:sp>
          <p:nvSpPr>
            <p:cNvPr id="350" name="椭圆 349"/>
            <p:cNvSpPr/>
            <p:nvPr/>
          </p:nvSpPr>
          <p:spPr>
            <a:xfrm>
              <a:off x="673100"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grpSp>
      <p:sp>
        <p:nvSpPr>
          <p:cNvPr id="890" name="Right Arrow 16">
            <a:extLst>
              <a:ext uri="{FF2B5EF4-FFF2-40B4-BE49-F238E27FC236}">
                <a16:creationId xmlns:a16="http://schemas.microsoft.com/office/drawing/2014/main" xmlns:p14="http://schemas.microsoft.com/office/powerpoint/2010/main" xmlns:a14="http://schemas.microsoft.com/office/drawing/2010/main" xmlns="" id="{C18997BC-8A46-4480-BDE2-8A42CE9D6E96}"/>
              </a:ext>
            </a:extLst>
          </p:cNvPr>
          <p:cNvSpPr/>
          <p:nvPr/>
        </p:nvSpPr>
        <p:spPr>
          <a:xfrm>
            <a:off x="4284309"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13" name="文本框 612">
            <a:extLst>
              <a:ext uri="{FF2B5EF4-FFF2-40B4-BE49-F238E27FC236}">
                <a16:creationId xmlns:a16="http://schemas.microsoft.com/office/drawing/2014/main" xmlns:p14="http://schemas.microsoft.com/office/powerpoint/2010/main" xmlns:a14="http://schemas.microsoft.com/office/drawing/2010/main" xmlns="" id="{8AD2200D-CA44-4767-84EF-C1856654B4FA}"/>
              </a:ext>
            </a:extLst>
          </p:cNvPr>
          <p:cNvSpPr txBox="1"/>
          <p:nvPr/>
        </p:nvSpPr>
        <p:spPr>
          <a:xfrm>
            <a:off x="4916703" y="5387481"/>
            <a:ext cx="2558947" cy="553998"/>
          </a:xfrm>
          <a:prstGeom prst="rect">
            <a:avLst/>
          </a:prstGeom>
          <a:noFill/>
        </p:spPr>
        <p:txBody>
          <a:bodyPr wrap="square" rtlCol="0" anchor="ctr">
            <a:spAutoFit/>
          </a:bodyPr>
          <a:lstStyle/>
          <a:p>
            <a:r>
              <a:rPr lang="zh-CN" altLang="en-US" sz="1000" dirty="0">
                <a:solidFill>
                  <a:srgbClr val="2F2F2F"/>
                </a:solidFill>
              </a:rPr>
              <a:t>点击 </a:t>
            </a:r>
            <a:r>
              <a:rPr lang="en-US" altLang="zh-CN" sz="1000" dirty="0" err="1">
                <a:solidFill>
                  <a:srgbClr val="2F2F2F"/>
                </a:solidFill>
              </a:rPr>
              <a:t>iSlide</a:t>
            </a:r>
            <a:r>
              <a:rPr lang="en-US" altLang="zh-CN" sz="1000" dirty="0">
                <a:solidFill>
                  <a:srgbClr val="2F2F2F"/>
                </a:solidFill>
              </a:rPr>
              <a:t>【</a:t>
            </a:r>
            <a:r>
              <a:rPr lang="zh-CN" altLang="en-US" sz="1000" dirty="0">
                <a:solidFill>
                  <a:srgbClr val="2F2F2F"/>
                </a:solidFill>
              </a:rPr>
              <a:t>图标库</a:t>
            </a:r>
            <a:r>
              <a:rPr lang="en-US" altLang="zh-CN" sz="1000" dirty="0">
                <a:solidFill>
                  <a:srgbClr val="2F2F2F"/>
                </a:solidFill>
              </a:rPr>
              <a:t>】</a:t>
            </a:r>
            <a:r>
              <a:rPr lang="zh-CN" altLang="en-US" sz="1000" dirty="0">
                <a:solidFill>
                  <a:srgbClr val="2F2F2F"/>
                </a:solidFill>
              </a:rPr>
              <a:t>中的图标替换</a:t>
            </a:r>
            <a:endParaRPr lang="en-US" altLang="zh-CN" sz="1000" dirty="0">
              <a:solidFill>
                <a:srgbClr val="2F2F2F"/>
              </a:solidFill>
            </a:endParaRPr>
          </a:p>
          <a:p>
            <a:r>
              <a:rPr lang="en-US" altLang="zh-CN" sz="1000" dirty="0">
                <a:solidFill>
                  <a:srgbClr val="2F2F2F"/>
                </a:solidFill>
              </a:rPr>
              <a:t>Click the target icon in iSlide “Icon Library</a:t>
            </a:r>
            <a:r>
              <a:rPr lang="en-US" altLang="zh-CN" sz="1000">
                <a:solidFill>
                  <a:srgbClr val="2F2F2F"/>
                </a:solidFill>
              </a:rPr>
              <a:t>” </a:t>
            </a:r>
            <a:r>
              <a:rPr lang="en-US" altLang="zh-CN" sz="100" smtClean="0">
                <a:solidFill>
                  <a:srgbClr val="2F2F2F"/>
                </a:solidFill>
              </a:rPr>
              <a:t> </a:t>
            </a:r>
            <a:r>
              <a:rPr lang="en-US" altLang="zh-CN" sz="1000" smtClean="0">
                <a:solidFill>
                  <a:srgbClr val="2F2F2F"/>
                </a:solidFill>
              </a:rPr>
              <a:t>to </a:t>
            </a:r>
            <a:r>
              <a:rPr lang="en-US" altLang="zh-CN" sz="1000" dirty="0">
                <a:solidFill>
                  <a:srgbClr val="2F2F2F"/>
                </a:solidFill>
              </a:rPr>
              <a:t>replace it</a:t>
            </a:r>
            <a:endParaRPr lang="zh-CN" altLang="en-US" sz="1000" dirty="0">
              <a:solidFill>
                <a:srgbClr val="2F2F2F"/>
              </a:solidFill>
            </a:endParaRPr>
          </a:p>
        </p:txBody>
      </p:sp>
      <p:sp>
        <p:nvSpPr>
          <p:cNvPr id="614" name="椭圆 613">
            <a:extLst>
              <a:ext uri="{FF2B5EF4-FFF2-40B4-BE49-F238E27FC236}">
                <a16:creationId xmlns:a16="http://schemas.microsoft.com/office/drawing/2014/main" xmlns:p14="http://schemas.microsoft.com/office/powerpoint/2010/main" xmlns:a14="http://schemas.microsoft.com/office/drawing/2010/main" xmlns="" id="{0EF98DBB-FD28-4F75-8C30-91D37F4F411F}"/>
              </a:ext>
            </a:extLst>
          </p:cNvPr>
          <p:cNvSpPr/>
          <p:nvPr/>
        </p:nvSpPr>
        <p:spPr>
          <a:xfrm>
            <a:off x="4595244"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sp>
        <p:nvSpPr>
          <p:cNvPr id="891" name="Right Arrow 751">
            <a:extLst>
              <a:ext uri="{FF2B5EF4-FFF2-40B4-BE49-F238E27FC236}">
                <a16:creationId xmlns:a16="http://schemas.microsoft.com/office/drawing/2014/main" xmlns:p14="http://schemas.microsoft.com/office/powerpoint/2010/main" xmlns:a14="http://schemas.microsoft.com/office/drawing/2010/main" xmlns="" id="{262E38B2-0226-44BA-9105-CB532FA15FCA}"/>
              </a:ext>
            </a:extLst>
          </p:cNvPr>
          <p:cNvSpPr/>
          <p:nvPr/>
        </p:nvSpPr>
        <p:spPr>
          <a:xfrm>
            <a:off x="7720848"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4" name="组合 3">
            <a:extLst>
              <a:ext uri="{FF2B5EF4-FFF2-40B4-BE49-F238E27FC236}">
                <a16:creationId xmlns:a16="http://schemas.microsoft.com/office/drawing/2014/main" xmlns:p14="http://schemas.microsoft.com/office/powerpoint/2010/main" xmlns:a14="http://schemas.microsoft.com/office/drawing/2010/main" xmlns="" id="{A28377A9-9395-4FE8-A752-D85653CA6493}"/>
              </a:ext>
            </a:extLst>
          </p:cNvPr>
          <p:cNvGrpSpPr/>
          <p:nvPr/>
        </p:nvGrpSpPr>
        <p:grpSpPr>
          <a:xfrm>
            <a:off x="8024992" y="5464436"/>
            <a:ext cx="3493908" cy="400110"/>
            <a:chOff x="8024992" y="5464436"/>
            <a:chExt cx="3493908" cy="400110"/>
          </a:xfrm>
        </p:grpSpPr>
        <p:sp>
          <p:nvSpPr>
            <p:cNvPr id="753" name="文本框 752">
              <a:extLst>
                <a:ext uri="{FF2B5EF4-FFF2-40B4-BE49-F238E27FC236}">
                  <a16:creationId xmlns:a16="http://schemas.microsoft.com/office/drawing/2014/main" xmlns:p14="http://schemas.microsoft.com/office/powerpoint/2010/main" xmlns:a14="http://schemas.microsoft.com/office/drawing/2010/main" xmlns="" id="{64E2827D-DD54-493E-8009-F97E8BD7C996}"/>
                </a:ext>
              </a:extLst>
            </p:cNvPr>
            <p:cNvSpPr txBox="1"/>
            <p:nvPr/>
          </p:nvSpPr>
          <p:spPr>
            <a:xfrm>
              <a:off x="8344861" y="5464436"/>
              <a:ext cx="3174039" cy="400110"/>
            </a:xfrm>
            <a:prstGeom prst="rect">
              <a:avLst/>
            </a:prstGeom>
            <a:noFill/>
          </p:spPr>
          <p:txBody>
            <a:bodyPr wrap="square" rtlCol="0" anchor="ctr">
              <a:spAutoFit/>
            </a:bodyPr>
            <a:lstStyle/>
            <a:p>
              <a:r>
                <a:rPr lang="zh-CN" altLang="en-US" sz="1000" dirty="0">
                  <a:solidFill>
                    <a:srgbClr val="2F2F2F"/>
                  </a:solidFill>
                </a:rPr>
                <a:t>替换成功</a:t>
              </a:r>
              <a:endParaRPr lang="en-US" altLang="zh-CN" sz="1000" dirty="0">
                <a:solidFill>
                  <a:srgbClr val="2F2F2F"/>
                </a:solidFill>
              </a:endParaRPr>
            </a:p>
            <a:p>
              <a:r>
                <a:rPr lang="en-US" altLang="zh-CN" sz="1000" smtClean="0">
                  <a:solidFill>
                    <a:srgbClr val="2F2F2F"/>
                  </a:solidFill>
                </a:rPr>
                <a:t>D</a:t>
              </a:r>
              <a:r>
                <a:rPr lang="en-US" altLang="zh-CN" sz="100" smtClean="0">
                  <a:solidFill>
                    <a:srgbClr val="2F2F2F"/>
                  </a:solidFill>
                </a:rPr>
                <a:t> </a:t>
              </a:r>
              <a:r>
                <a:rPr lang="en-US" altLang="zh-CN" sz="1000" smtClean="0">
                  <a:solidFill>
                    <a:srgbClr val="2F2F2F"/>
                  </a:solidFill>
                </a:rPr>
                <a:t>one</a:t>
              </a:r>
              <a:endParaRPr lang="en-US" altLang="zh-CN" sz="1000" dirty="0">
                <a:solidFill>
                  <a:srgbClr val="2F2F2F"/>
                </a:solidFill>
              </a:endParaRPr>
            </a:p>
          </p:txBody>
        </p:sp>
        <p:sp>
          <p:nvSpPr>
            <p:cNvPr id="754" name="椭圆 753">
              <a:extLst>
                <a:ext uri="{FF2B5EF4-FFF2-40B4-BE49-F238E27FC236}">
                  <a16:creationId xmlns:a16="http://schemas.microsoft.com/office/drawing/2014/main" xmlns:p14="http://schemas.microsoft.com/office/powerpoint/2010/main" xmlns:a14="http://schemas.microsoft.com/office/drawing/2010/main" xmlns="" id="{2CAE1083-0567-4F35-9DA3-912D7BA86E08}"/>
                </a:ext>
              </a:extLst>
            </p:cNvPr>
            <p:cNvSpPr/>
            <p:nvPr/>
          </p:nvSpPr>
          <p:spPr>
            <a:xfrm>
              <a:off x="8024992"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3</a:t>
              </a:r>
              <a:endParaRPr lang="zh-CN" altLang="en-US" sz="1200" dirty="0"/>
            </a:p>
          </p:txBody>
        </p:sp>
      </p:grpSp>
      <p:sp>
        <p:nvSpPr>
          <p:cNvPr id="3" name="标题 1">
            <a:extLst>
              <a:ext uri="{FF2B5EF4-FFF2-40B4-BE49-F238E27FC236}">
                <a16:creationId xmlns:a16="http://schemas.microsoft.com/office/drawing/2014/main" xmlns:p14="http://schemas.microsoft.com/office/powerpoint/2010/main" xmlns:a14="http://schemas.microsoft.com/office/drawing/2010/main" xmlns="" id="{4F84E74D-AA01-4BAE-92D2-C59945F97B6D}"/>
              </a:ext>
            </a:extLst>
          </p:cNvPr>
          <p:cNvSpPr txBox="1">
            <a:spLocks/>
          </p:cNvSpPr>
          <p:nvPr/>
        </p:nvSpPr>
        <p:spPr>
          <a:xfrm>
            <a:off x="660400" y="0"/>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更改页面中的图标  </a:t>
            </a:r>
            <a:r>
              <a:rPr lang="en-US" altLang="zh-CN" sz="2800" b="1"/>
              <a:t>Replace </a:t>
            </a:r>
            <a:r>
              <a:rPr lang="en-US" altLang="zh-CN" sz="100" b="1" smtClean="0"/>
              <a:t> </a:t>
            </a:r>
            <a:r>
              <a:rPr lang="en-US" altLang="zh-CN" sz="2800" b="1" smtClean="0"/>
              <a:t>Icons</a:t>
            </a:r>
            <a:endParaRPr lang="zh-CN" altLang="en-US" sz="2800" b="1" dirty="0"/>
          </a:p>
        </p:txBody>
      </p:sp>
      <p:grpSp>
        <p:nvGrpSpPr>
          <p:cNvPr id="22" name="组合 21">
            <a:extLst>
              <a:ext uri="{FF2B5EF4-FFF2-40B4-BE49-F238E27FC236}">
                <a16:creationId xmlns:a16="http://schemas.microsoft.com/office/drawing/2014/main" xmlns:p14="http://schemas.microsoft.com/office/powerpoint/2010/main" xmlns:a14="http://schemas.microsoft.com/office/drawing/2010/main" xmlns="" id="{3A3BC1D5-EA0F-41BB-8F53-59743BD1B38C}"/>
              </a:ext>
            </a:extLst>
          </p:cNvPr>
          <p:cNvGrpSpPr/>
          <p:nvPr/>
        </p:nvGrpSpPr>
        <p:grpSpPr>
          <a:xfrm>
            <a:off x="660400" y="1959178"/>
            <a:ext cx="3493913" cy="2403813"/>
            <a:chOff x="673100" y="1959176"/>
            <a:chExt cx="3493913" cy="2403813"/>
          </a:xfrm>
        </p:grpSpPr>
        <p:grpSp>
          <p:nvGrpSpPr>
            <p:cNvPr id="12" name="组合 11">
              <a:extLst>
                <a:ext uri="{FF2B5EF4-FFF2-40B4-BE49-F238E27FC236}">
                  <a16:creationId xmlns:a16="http://schemas.microsoft.com/office/drawing/2014/main" xmlns:p14="http://schemas.microsoft.com/office/powerpoint/2010/main" xmlns:a14="http://schemas.microsoft.com/office/drawing/2010/main" xmlns="" id="{3D97207B-26E6-494B-A2BE-1E1B9E3E4E18}"/>
                </a:ext>
              </a:extLst>
            </p:cNvPr>
            <p:cNvGrpSpPr/>
            <p:nvPr/>
          </p:nvGrpSpPr>
          <p:grpSpPr>
            <a:xfrm>
              <a:off x="673100" y="1959176"/>
              <a:ext cx="3493913" cy="2403813"/>
              <a:chOff x="673100" y="1959176"/>
              <a:chExt cx="3493913" cy="2403813"/>
            </a:xfrm>
          </p:grpSpPr>
          <p:sp>
            <p:nvSpPr>
              <p:cNvPr id="395" name="Freeform 6">
                <a:extLst>
                  <a:ext uri="{FF2B5EF4-FFF2-40B4-BE49-F238E27FC236}">
                    <a16:creationId xmlns:a16="http://schemas.microsoft.com/office/drawing/2014/main" xmlns:p14="http://schemas.microsoft.com/office/powerpoint/2010/main" xmlns:a14="http://schemas.microsoft.com/office/drawing/2010/main" xmlns="" id="{531F3E12-E1A1-4FB6-BE6F-619A1EB56468}"/>
                  </a:ext>
                </a:extLst>
              </p:cNvPr>
              <p:cNvSpPr>
                <a:spLocks/>
              </p:cNvSpPr>
              <p:nvPr/>
            </p:nvSpPr>
            <p:spPr bwMode="auto">
              <a:xfrm>
                <a:off x="673100"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396" name="矩形: 圆角 395">
                <a:extLst>
                  <a:ext uri="{FF2B5EF4-FFF2-40B4-BE49-F238E27FC236}">
                    <a16:creationId xmlns:a16="http://schemas.microsoft.com/office/drawing/2014/main" xmlns:p14="http://schemas.microsoft.com/office/powerpoint/2010/main" xmlns:a14="http://schemas.microsoft.com/office/drawing/2010/main" xmlns="" id="{41C62B95-EC03-4F9F-8BDA-29725A649F10}"/>
                  </a:ext>
                </a:extLst>
              </p:cNvPr>
              <p:cNvSpPr>
                <a:spLocks noChangeAspect="1"/>
              </p:cNvSpPr>
              <p:nvPr/>
            </p:nvSpPr>
            <p:spPr>
              <a:xfrm>
                <a:off x="810452"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397" name="Rectangle 8">
                <a:extLst>
                  <a:ext uri="{FF2B5EF4-FFF2-40B4-BE49-F238E27FC236}">
                    <a16:creationId xmlns:a16="http://schemas.microsoft.com/office/drawing/2014/main" xmlns:p14="http://schemas.microsoft.com/office/powerpoint/2010/main" xmlns:a14="http://schemas.microsoft.com/office/drawing/2010/main" xmlns="" id="{6BC6B2AE-F334-45A7-8DC1-83E254A97646}"/>
                  </a:ext>
                </a:extLst>
              </p:cNvPr>
              <p:cNvSpPr>
                <a:spLocks noChangeArrowheads="1"/>
              </p:cNvSpPr>
              <p:nvPr/>
            </p:nvSpPr>
            <p:spPr bwMode="auto">
              <a:xfrm>
                <a:off x="810454"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8" name="Rectangle 9">
                <a:extLst>
                  <a:ext uri="{FF2B5EF4-FFF2-40B4-BE49-F238E27FC236}">
                    <a16:creationId xmlns:a16="http://schemas.microsoft.com/office/drawing/2014/main" xmlns:p14="http://schemas.microsoft.com/office/powerpoint/2010/main" xmlns:a14="http://schemas.microsoft.com/office/drawing/2010/main" xmlns="" id="{68127BC8-69DB-42D5-933C-6C3BB8817842}"/>
                  </a:ext>
                </a:extLst>
              </p:cNvPr>
              <p:cNvSpPr>
                <a:spLocks noChangeArrowheads="1"/>
              </p:cNvSpPr>
              <p:nvPr/>
            </p:nvSpPr>
            <p:spPr bwMode="auto">
              <a:xfrm>
                <a:off x="810454"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9" name="Oval 14">
                <a:extLst>
                  <a:ext uri="{FF2B5EF4-FFF2-40B4-BE49-F238E27FC236}">
                    <a16:creationId xmlns:a16="http://schemas.microsoft.com/office/drawing/2014/main" xmlns:p14="http://schemas.microsoft.com/office/powerpoint/2010/main" xmlns:a14="http://schemas.microsoft.com/office/drawing/2010/main" xmlns="" id="{560F0ECF-D54D-48C1-99F9-1628B8E529F7}"/>
                  </a:ext>
                </a:extLst>
              </p:cNvPr>
              <p:cNvSpPr>
                <a:spLocks noChangeArrowheads="1"/>
              </p:cNvSpPr>
              <p:nvPr/>
            </p:nvSpPr>
            <p:spPr bwMode="auto">
              <a:xfrm>
                <a:off x="1171610"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0" name="Oval 15">
                <a:extLst>
                  <a:ext uri="{FF2B5EF4-FFF2-40B4-BE49-F238E27FC236}">
                    <a16:creationId xmlns:a16="http://schemas.microsoft.com/office/drawing/2014/main" xmlns:p14="http://schemas.microsoft.com/office/powerpoint/2010/main" xmlns:a14="http://schemas.microsoft.com/office/drawing/2010/main" xmlns="" id="{6561D1AC-5205-4166-B410-F62D7AA3418D}"/>
                  </a:ext>
                </a:extLst>
              </p:cNvPr>
              <p:cNvSpPr>
                <a:spLocks noChangeArrowheads="1"/>
              </p:cNvSpPr>
              <p:nvPr/>
            </p:nvSpPr>
            <p:spPr bwMode="auto">
              <a:xfrm>
                <a:off x="1276307"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1" name="Oval 16">
                <a:extLst>
                  <a:ext uri="{FF2B5EF4-FFF2-40B4-BE49-F238E27FC236}">
                    <a16:creationId xmlns:a16="http://schemas.microsoft.com/office/drawing/2014/main" xmlns:p14="http://schemas.microsoft.com/office/powerpoint/2010/main" xmlns:a14="http://schemas.microsoft.com/office/drawing/2010/main" xmlns="" id="{B63B0240-B214-4523-8D02-15FD02022D42}"/>
                  </a:ext>
                </a:extLst>
              </p:cNvPr>
              <p:cNvSpPr>
                <a:spLocks noChangeArrowheads="1"/>
              </p:cNvSpPr>
              <p:nvPr/>
            </p:nvSpPr>
            <p:spPr bwMode="auto">
              <a:xfrm>
                <a:off x="138100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2" name="Freeform 18">
                <a:extLst>
                  <a:ext uri="{FF2B5EF4-FFF2-40B4-BE49-F238E27FC236}">
                    <a16:creationId xmlns:a16="http://schemas.microsoft.com/office/drawing/2014/main" xmlns:p14="http://schemas.microsoft.com/office/powerpoint/2010/main" xmlns:a14="http://schemas.microsoft.com/office/drawing/2010/main" xmlns="" id="{E270C877-0DE9-4B40-AF0A-2BD4879C8157}"/>
                  </a:ext>
                </a:extLst>
              </p:cNvPr>
              <p:cNvSpPr>
                <a:spLocks/>
              </p:cNvSpPr>
              <p:nvPr/>
            </p:nvSpPr>
            <p:spPr bwMode="auto">
              <a:xfrm>
                <a:off x="1615371"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3" name="Rectangle 19">
                <a:extLst>
                  <a:ext uri="{FF2B5EF4-FFF2-40B4-BE49-F238E27FC236}">
                    <a16:creationId xmlns:a16="http://schemas.microsoft.com/office/drawing/2014/main" xmlns:p14="http://schemas.microsoft.com/office/powerpoint/2010/main" xmlns:a14="http://schemas.microsoft.com/office/drawing/2010/main" xmlns="" id="{58C87805-37F6-47C6-99DE-933822F94A81}"/>
                  </a:ext>
                </a:extLst>
              </p:cNvPr>
              <p:cNvSpPr>
                <a:spLocks noChangeArrowheads="1"/>
              </p:cNvSpPr>
              <p:nvPr/>
            </p:nvSpPr>
            <p:spPr bwMode="auto">
              <a:xfrm>
                <a:off x="1737357"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4" name="Freeform 20">
                <a:extLst>
                  <a:ext uri="{FF2B5EF4-FFF2-40B4-BE49-F238E27FC236}">
                    <a16:creationId xmlns:a16="http://schemas.microsoft.com/office/drawing/2014/main" xmlns:p14="http://schemas.microsoft.com/office/powerpoint/2010/main" xmlns:a14="http://schemas.microsoft.com/office/drawing/2010/main" xmlns="" id="{1C2469F6-351F-4DF3-BA4D-2D313709F444}"/>
                  </a:ext>
                </a:extLst>
              </p:cNvPr>
              <p:cNvSpPr>
                <a:spLocks/>
              </p:cNvSpPr>
              <p:nvPr/>
            </p:nvSpPr>
            <p:spPr bwMode="auto">
              <a:xfrm>
                <a:off x="1139912"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5" name="Freeform 21">
                <a:extLst>
                  <a:ext uri="{FF2B5EF4-FFF2-40B4-BE49-F238E27FC236}">
                    <a16:creationId xmlns:a16="http://schemas.microsoft.com/office/drawing/2014/main" xmlns:p14="http://schemas.microsoft.com/office/powerpoint/2010/main" xmlns:a14="http://schemas.microsoft.com/office/drawing/2010/main" xmlns="" id="{0546D3E7-D879-4A49-9ECB-4376DCE28F9F}"/>
                  </a:ext>
                </a:extLst>
              </p:cNvPr>
              <p:cNvSpPr>
                <a:spLocks/>
              </p:cNvSpPr>
              <p:nvPr/>
            </p:nvSpPr>
            <p:spPr bwMode="auto">
              <a:xfrm>
                <a:off x="2317512"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6" name="Freeform 22">
                <a:extLst>
                  <a:ext uri="{FF2B5EF4-FFF2-40B4-BE49-F238E27FC236}">
                    <a16:creationId xmlns:a16="http://schemas.microsoft.com/office/drawing/2014/main" xmlns:p14="http://schemas.microsoft.com/office/powerpoint/2010/main" xmlns:a14="http://schemas.microsoft.com/office/drawing/2010/main" xmlns="" id="{5233617A-97F2-4429-AF9B-F0A6CB363E83}"/>
                  </a:ext>
                </a:extLst>
              </p:cNvPr>
              <p:cNvSpPr>
                <a:spLocks/>
              </p:cNvSpPr>
              <p:nvPr/>
            </p:nvSpPr>
            <p:spPr bwMode="auto">
              <a:xfrm>
                <a:off x="2757430"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7" name="Freeform 23">
                <a:extLst>
                  <a:ext uri="{FF2B5EF4-FFF2-40B4-BE49-F238E27FC236}">
                    <a16:creationId xmlns:a16="http://schemas.microsoft.com/office/drawing/2014/main" xmlns:p14="http://schemas.microsoft.com/office/powerpoint/2010/main" xmlns:a14="http://schemas.microsoft.com/office/drawing/2010/main" xmlns="" id="{B378177B-6943-4F4B-8E95-6B7ACB9CAAF5}"/>
                  </a:ext>
                </a:extLst>
              </p:cNvPr>
              <p:cNvSpPr>
                <a:spLocks/>
              </p:cNvSpPr>
              <p:nvPr/>
            </p:nvSpPr>
            <p:spPr bwMode="auto">
              <a:xfrm>
                <a:off x="3197349"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3" name="矩形: 圆角 412">
                <a:extLst>
                  <a:ext uri="{FF2B5EF4-FFF2-40B4-BE49-F238E27FC236}">
                    <a16:creationId xmlns:a16="http://schemas.microsoft.com/office/drawing/2014/main" xmlns:p14="http://schemas.microsoft.com/office/powerpoint/2010/main" xmlns:a14="http://schemas.microsoft.com/office/drawing/2010/main" xmlns="" id="{A5273A11-4ECF-4BC3-B800-7AB534DFA803}"/>
                  </a:ext>
                </a:extLst>
              </p:cNvPr>
              <p:cNvSpPr>
                <a:spLocks noChangeAspect="1"/>
              </p:cNvSpPr>
              <p:nvPr/>
            </p:nvSpPr>
            <p:spPr>
              <a:xfrm>
                <a:off x="810452"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14" name="矩形: 圆角 413">
                <a:extLst>
                  <a:ext uri="{FF2B5EF4-FFF2-40B4-BE49-F238E27FC236}">
                    <a16:creationId xmlns:a16="http://schemas.microsoft.com/office/drawing/2014/main" xmlns:p14="http://schemas.microsoft.com/office/powerpoint/2010/main" xmlns:a14="http://schemas.microsoft.com/office/drawing/2010/main" xmlns="" id="{E3CF60ED-F7D9-4D1A-9948-5618058A2AC0}"/>
                  </a:ext>
                </a:extLst>
              </p:cNvPr>
              <p:cNvSpPr>
                <a:spLocks noChangeAspect="1"/>
              </p:cNvSpPr>
              <p:nvPr/>
            </p:nvSpPr>
            <p:spPr>
              <a:xfrm>
                <a:off x="810452"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17" name="矩形: 圆角 416">
                <a:extLst>
                  <a:ext uri="{FF2B5EF4-FFF2-40B4-BE49-F238E27FC236}">
                    <a16:creationId xmlns:a16="http://schemas.microsoft.com/office/drawing/2014/main" xmlns:p14="http://schemas.microsoft.com/office/powerpoint/2010/main" xmlns:a14="http://schemas.microsoft.com/office/drawing/2010/main" xmlns="" id="{361B979D-727A-401A-B59B-F2C14D9B30D7}"/>
                  </a:ext>
                </a:extLst>
              </p:cNvPr>
              <p:cNvSpPr>
                <a:spLocks noChangeAspect="1"/>
              </p:cNvSpPr>
              <p:nvPr/>
            </p:nvSpPr>
            <p:spPr>
              <a:xfrm>
                <a:off x="810452"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18" name="矩形: 圆角 417">
                <a:extLst>
                  <a:ext uri="{FF2B5EF4-FFF2-40B4-BE49-F238E27FC236}">
                    <a16:creationId xmlns:a16="http://schemas.microsoft.com/office/drawing/2014/main" xmlns:p14="http://schemas.microsoft.com/office/powerpoint/2010/main" xmlns:a14="http://schemas.microsoft.com/office/drawing/2010/main" xmlns="" id="{93DD38D4-7820-4D39-A810-19710F4E6372}"/>
                  </a:ext>
                </a:extLst>
              </p:cNvPr>
              <p:cNvSpPr>
                <a:spLocks noChangeAspect="1"/>
              </p:cNvSpPr>
              <p:nvPr/>
            </p:nvSpPr>
            <p:spPr>
              <a:xfrm>
                <a:off x="1448859"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35" name="矩形: 圆角 134">
                <a:extLst>
                  <a:ext uri="{FF2B5EF4-FFF2-40B4-BE49-F238E27FC236}">
                    <a16:creationId xmlns:a16="http://schemas.microsoft.com/office/drawing/2014/main" xmlns:p14="http://schemas.microsoft.com/office/powerpoint/2010/main" xmlns:a14="http://schemas.microsoft.com/office/drawing/2010/main" xmlns="" id="{D79E55C5-A2DE-4D31-AA8A-1A5CDFEC06DD}"/>
                  </a:ext>
                </a:extLst>
              </p:cNvPr>
              <p:cNvSpPr>
                <a:spLocks noChangeAspect="1"/>
              </p:cNvSpPr>
              <p:nvPr/>
            </p:nvSpPr>
            <p:spPr>
              <a:xfrm>
                <a:off x="810452"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4" name="组合 13">
              <a:extLst>
                <a:ext uri="{FF2B5EF4-FFF2-40B4-BE49-F238E27FC236}">
                  <a16:creationId xmlns:a16="http://schemas.microsoft.com/office/drawing/2014/main" xmlns:p14="http://schemas.microsoft.com/office/powerpoint/2010/main" xmlns:a14="http://schemas.microsoft.com/office/drawing/2010/main" xmlns="" id="{23994454-07E0-4714-A984-4D1D3F716955}"/>
                </a:ext>
              </a:extLst>
            </p:cNvPr>
            <p:cNvGrpSpPr/>
            <p:nvPr/>
          </p:nvGrpSpPr>
          <p:grpSpPr>
            <a:xfrm>
              <a:off x="1625650" y="2998805"/>
              <a:ext cx="2224728" cy="1011538"/>
              <a:chOff x="1625650" y="2998805"/>
              <a:chExt cx="2224728" cy="1011538"/>
            </a:xfrm>
          </p:grpSpPr>
          <p:sp>
            <p:nvSpPr>
              <p:cNvPr id="420" name="矩形 419">
                <a:extLst>
                  <a:ext uri="{FF2B5EF4-FFF2-40B4-BE49-F238E27FC236}">
                    <a16:creationId xmlns:a16="http://schemas.microsoft.com/office/drawing/2014/main" xmlns:p14="http://schemas.microsoft.com/office/powerpoint/2010/main" xmlns:a14="http://schemas.microsoft.com/office/drawing/2010/main" xmlns="" id="{B63E4F93-58FC-4CD9-A34C-1104C0B05951}"/>
                  </a:ext>
                </a:extLst>
              </p:cNvPr>
              <p:cNvSpPr/>
              <p:nvPr/>
            </p:nvSpPr>
            <p:spPr>
              <a:xfrm>
                <a:off x="1658306"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3" name="六边形 442">
                <a:extLst>
                  <a:ext uri="{FF2B5EF4-FFF2-40B4-BE49-F238E27FC236}">
                    <a16:creationId xmlns:a16="http://schemas.microsoft.com/office/drawing/2014/main" xmlns:p14="http://schemas.microsoft.com/office/powerpoint/2010/main" xmlns:a14="http://schemas.microsoft.com/office/drawing/2010/main" xmlns="" id="{45D5F12E-5FA7-4314-9F36-17008F56C1BA}"/>
                  </a:ext>
                </a:extLst>
              </p:cNvPr>
              <p:cNvSpPr/>
              <p:nvPr/>
            </p:nvSpPr>
            <p:spPr>
              <a:xfrm>
                <a:off x="1625650" y="2998805"/>
                <a:ext cx="544954" cy="469786"/>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444" name="六边形 443">
                <a:extLst>
                  <a:ext uri="{FF2B5EF4-FFF2-40B4-BE49-F238E27FC236}">
                    <a16:creationId xmlns:a16="http://schemas.microsoft.com/office/drawing/2014/main" xmlns:p14="http://schemas.microsoft.com/office/powerpoint/2010/main" xmlns:a14="http://schemas.microsoft.com/office/drawing/2010/main" xmlns="" id="{98872168-52C8-4CB0-849C-CFFD8AFAAECE}"/>
                  </a:ext>
                </a:extLst>
              </p:cNvPr>
              <p:cNvSpPr/>
              <p:nvPr/>
            </p:nvSpPr>
            <p:spPr>
              <a:xfrm>
                <a:off x="2121786" y="3264910"/>
                <a:ext cx="544954" cy="469786"/>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445" name="六边形 444">
                <a:extLst>
                  <a:ext uri="{FF2B5EF4-FFF2-40B4-BE49-F238E27FC236}">
                    <a16:creationId xmlns:a16="http://schemas.microsoft.com/office/drawing/2014/main" xmlns:p14="http://schemas.microsoft.com/office/powerpoint/2010/main" xmlns:a14="http://schemas.microsoft.com/office/drawing/2010/main" xmlns="" id="{D1533CD2-D858-4859-B0BA-68DD7361A521}"/>
                  </a:ext>
                </a:extLst>
              </p:cNvPr>
              <p:cNvSpPr/>
              <p:nvPr/>
            </p:nvSpPr>
            <p:spPr>
              <a:xfrm>
                <a:off x="1635531" y="3540559"/>
                <a:ext cx="544952" cy="469784"/>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446" name="矩形 445">
                <a:extLst>
                  <a:ext uri="{FF2B5EF4-FFF2-40B4-BE49-F238E27FC236}">
                    <a16:creationId xmlns:a16="http://schemas.microsoft.com/office/drawing/2014/main" xmlns:p14="http://schemas.microsoft.com/office/powerpoint/2010/main" xmlns:a14="http://schemas.microsoft.com/office/drawing/2010/main" xmlns="" id="{36870D1E-3609-43A4-90AA-F0C0A7F193B6}"/>
                  </a:ext>
                </a:extLst>
              </p:cNvPr>
              <p:cNvSpPr/>
              <p:nvPr/>
            </p:nvSpPr>
            <p:spPr>
              <a:xfrm>
                <a:off x="2840921" y="3226205"/>
                <a:ext cx="1009457" cy="120582"/>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7" name="矩形 446">
                <a:extLst>
                  <a:ext uri="{FF2B5EF4-FFF2-40B4-BE49-F238E27FC236}">
                    <a16:creationId xmlns:a16="http://schemas.microsoft.com/office/drawing/2014/main" xmlns:p14="http://schemas.microsoft.com/office/powerpoint/2010/main" xmlns:a14="http://schemas.microsoft.com/office/drawing/2010/main" xmlns="" id="{8120700A-212B-4D96-BE36-7DC480D315D8}"/>
                  </a:ext>
                </a:extLst>
              </p:cNvPr>
              <p:cNvSpPr/>
              <p:nvPr/>
            </p:nvSpPr>
            <p:spPr>
              <a:xfrm>
                <a:off x="2840916" y="3443416"/>
                <a:ext cx="884270" cy="120582"/>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48" name="矩形 447">
                <a:extLst>
                  <a:ext uri="{FF2B5EF4-FFF2-40B4-BE49-F238E27FC236}">
                    <a16:creationId xmlns:a16="http://schemas.microsoft.com/office/drawing/2014/main" xmlns:p14="http://schemas.microsoft.com/office/powerpoint/2010/main" xmlns:a14="http://schemas.microsoft.com/office/drawing/2010/main" xmlns="" id="{62645477-49A9-44F5-8502-6F99449F9544}"/>
                  </a:ext>
                </a:extLst>
              </p:cNvPr>
              <p:cNvSpPr/>
              <p:nvPr/>
            </p:nvSpPr>
            <p:spPr>
              <a:xfrm>
                <a:off x="2840916" y="3662360"/>
                <a:ext cx="757094" cy="120582"/>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7" name="任意多边形: 形状 466">
                <a:extLst>
                  <a:ext uri="{FF2B5EF4-FFF2-40B4-BE49-F238E27FC236}">
                    <a16:creationId xmlns:a16="http://schemas.microsoft.com/office/drawing/2014/main" xmlns:p14="http://schemas.microsoft.com/office/powerpoint/2010/main" xmlns:a14="http://schemas.microsoft.com/office/drawing/2010/main" xmlns="" id="{029C489B-D9F3-48DB-BAA7-20AF8AFA842D}"/>
                  </a:ext>
                </a:extLst>
              </p:cNvPr>
              <p:cNvSpPr>
                <a:spLocks noChangeArrowheads="1"/>
              </p:cNvSpPr>
              <p:nvPr/>
            </p:nvSpPr>
            <p:spPr bwMode="auto">
              <a:xfrm>
                <a:off x="1755343" y="3079063"/>
                <a:ext cx="289293" cy="289295"/>
              </a:xfrm>
              <a:custGeom>
                <a:avLst/>
                <a:gdLst>
                  <a:gd name="connsiteX0" fmla="*/ 31617 w 289293"/>
                  <a:gd name="connsiteY0" fmla="*/ 267953 h 289295"/>
                  <a:gd name="connsiteX1" fmla="*/ 257677 w 289293"/>
                  <a:gd name="connsiteY1" fmla="*/ 267953 h 289295"/>
                  <a:gd name="connsiteX2" fmla="*/ 267952 w 289293"/>
                  <a:gd name="connsiteY2" fmla="*/ 278624 h 289295"/>
                  <a:gd name="connsiteX3" fmla="*/ 257677 w 289293"/>
                  <a:gd name="connsiteY3" fmla="*/ 289295 h 289295"/>
                  <a:gd name="connsiteX4" fmla="*/ 31617 w 289293"/>
                  <a:gd name="connsiteY4" fmla="*/ 289295 h 289295"/>
                  <a:gd name="connsiteX5" fmla="*/ 21342 w 289293"/>
                  <a:gd name="connsiteY5" fmla="*/ 278624 h 289295"/>
                  <a:gd name="connsiteX6" fmla="*/ 31617 w 289293"/>
                  <a:gd name="connsiteY6" fmla="*/ 267953 h 289295"/>
                  <a:gd name="connsiteX7" fmla="*/ 123983 w 289293"/>
                  <a:gd name="connsiteY7" fmla="*/ 138821 h 289295"/>
                  <a:gd name="connsiteX8" fmla="*/ 144648 w 289293"/>
                  <a:gd name="connsiteY8" fmla="*/ 142993 h 289295"/>
                  <a:gd name="connsiteX9" fmla="*/ 165310 w 289293"/>
                  <a:gd name="connsiteY9" fmla="*/ 138822 h 289295"/>
                  <a:gd name="connsiteX10" fmla="*/ 165310 w 289293"/>
                  <a:gd name="connsiteY10" fmla="*/ 161161 h 289295"/>
                  <a:gd name="connsiteX11" fmla="*/ 175642 w 289293"/>
                  <a:gd name="connsiteY11" fmla="*/ 171493 h 289295"/>
                  <a:gd name="connsiteX12" fmla="*/ 278961 w 289293"/>
                  <a:gd name="connsiteY12" fmla="*/ 186991 h 289295"/>
                  <a:gd name="connsiteX13" fmla="*/ 289293 w 289293"/>
                  <a:gd name="connsiteY13" fmla="*/ 197323 h 289295"/>
                  <a:gd name="connsiteX14" fmla="*/ 289293 w 289293"/>
                  <a:gd name="connsiteY14" fmla="*/ 238651 h 289295"/>
                  <a:gd name="connsiteX15" fmla="*/ 278961 w 289293"/>
                  <a:gd name="connsiteY15" fmla="*/ 248983 h 289295"/>
                  <a:gd name="connsiteX16" fmla="*/ 10332 w 289293"/>
                  <a:gd name="connsiteY16" fmla="*/ 248983 h 289295"/>
                  <a:gd name="connsiteX17" fmla="*/ 0 w 289293"/>
                  <a:gd name="connsiteY17" fmla="*/ 238651 h 289295"/>
                  <a:gd name="connsiteX18" fmla="*/ 0 w 289293"/>
                  <a:gd name="connsiteY18" fmla="*/ 197323 h 289295"/>
                  <a:gd name="connsiteX19" fmla="*/ 10332 w 289293"/>
                  <a:gd name="connsiteY19" fmla="*/ 186991 h 289295"/>
                  <a:gd name="connsiteX20" fmla="*/ 113651 w 289293"/>
                  <a:gd name="connsiteY20" fmla="*/ 171493 h 289295"/>
                  <a:gd name="connsiteX21" fmla="*/ 123983 w 289293"/>
                  <a:gd name="connsiteY21" fmla="*/ 161161 h 289295"/>
                  <a:gd name="connsiteX22" fmla="*/ 123983 w 289293"/>
                  <a:gd name="connsiteY22" fmla="*/ 141546 h 289295"/>
                  <a:gd name="connsiteX23" fmla="*/ 144648 w 289293"/>
                  <a:gd name="connsiteY23" fmla="*/ 0 h 289295"/>
                  <a:gd name="connsiteX24" fmla="*/ 206301 w 289293"/>
                  <a:gd name="connsiteY24" fmla="*/ 61653 h 289295"/>
                  <a:gd name="connsiteX25" fmla="*/ 144648 w 289293"/>
                  <a:gd name="connsiteY25" fmla="*/ 123306 h 289295"/>
                  <a:gd name="connsiteX26" fmla="*/ 82995 w 289293"/>
                  <a:gd name="connsiteY26" fmla="*/ 61653 h 289295"/>
                  <a:gd name="connsiteX27" fmla="*/ 144648 w 289293"/>
                  <a:gd name="connsiteY27" fmla="*/ 0 h 289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9293" h="289295">
                    <a:moveTo>
                      <a:pt x="31617" y="267953"/>
                    </a:moveTo>
                    <a:cubicBezTo>
                      <a:pt x="257677" y="267953"/>
                      <a:pt x="257677" y="267953"/>
                      <a:pt x="257677" y="267953"/>
                    </a:cubicBezTo>
                    <a:cubicBezTo>
                      <a:pt x="262814" y="267953"/>
                      <a:pt x="267952" y="273289"/>
                      <a:pt x="267952" y="278624"/>
                    </a:cubicBezTo>
                    <a:cubicBezTo>
                      <a:pt x="267952" y="283960"/>
                      <a:pt x="262814" y="289295"/>
                      <a:pt x="257677" y="289295"/>
                    </a:cubicBezTo>
                    <a:cubicBezTo>
                      <a:pt x="31617" y="289295"/>
                      <a:pt x="31617" y="289295"/>
                      <a:pt x="31617" y="289295"/>
                    </a:cubicBezTo>
                    <a:cubicBezTo>
                      <a:pt x="26480" y="289295"/>
                      <a:pt x="21342" y="283960"/>
                      <a:pt x="21342" y="278624"/>
                    </a:cubicBezTo>
                    <a:cubicBezTo>
                      <a:pt x="21342" y="273289"/>
                      <a:pt x="26480" y="267953"/>
                      <a:pt x="31617" y="267953"/>
                    </a:cubicBezTo>
                    <a:close/>
                    <a:moveTo>
                      <a:pt x="123983" y="138821"/>
                    </a:moveTo>
                    <a:lnTo>
                      <a:pt x="144648" y="142993"/>
                    </a:lnTo>
                    <a:lnTo>
                      <a:pt x="165310" y="138822"/>
                    </a:lnTo>
                    <a:lnTo>
                      <a:pt x="165310" y="161161"/>
                    </a:lnTo>
                    <a:cubicBezTo>
                      <a:pt x="165310" y="166327"/>
                      <a:pt x="170476" y="171493"/>
                      <a:pt x="175642" y="171493"/>
                    </a:cubicBezTo>
                    <a:cubicBezTo>
                      <a:pt x="175642" y="171493"/>
                      <a:pt x="175642" y="171493"/>
                      <a:pt x="278961" y="186991"/>
                    </a:cubicBezTo>
                    <a:cubicBezTo>
                      <a:pt x="284127" y="186991"/>
                      <a:pt x="289293" y="192157"/>
                      <a:pt x="289293" y="197323"/>
                    </a:cubicBezTo>
                    <a:cubicBezTo>
                      <a:pt x="289293" y="197323"/>
                      <a:pt x="289293" y="197323"/>
                      <a:pt x="289293" y="238651"/>
                    </a:cubicBezTo>
                    <a:cubicBezTo>
                      <a:pt x="289293" y="243817"/>
                      <a:pt x="284127" y="248983"/>
                      <a:pt x="278961" y="248983"/>
                    </a:cubicBezTo>
                    <a:cubicBezTo>
                      <a:pt x="278961" y="248983"/>
                      <a:pt x="278961" y="248983"/>
                      <a:pt x="10332" y="248983"/>
                    </a:cubicBezTo>
                    <a:cubicBezTo>
                      <a:pt x="5166" y="248983"/>
                      <a:pt x="0" y="243817"/>
                      <a:pt x="0" y="238651"/>
                    </a:cubicBezTo>
                    <a:cubicBezTo>
                      <a:pt x="0" y="238651"/>
                      <a:pt x="0" y="238651"/>
                      <a:pt x="0" y="197323"/>
                    </a:cubicBezTo>
                    <a:cubicBezTo>
                      <a:pt x="0" y="192157"/>
                      <a:pt x="5166" y="186991"/>
                      <a:pt x="10332" y="186991"/>
                    </a:cubicBezTo>
                    <a:cubicBezTo>
                      <a:pt x="10332" y="186991"/>
                      <a:pt x="10332" y="186991"/>
                      <a:pt x="113651" y="171493"/>
                    </a:cubicBezTo>
                    <a:cubicBezTo>
                      <a:pt x="118817" y="171493"/>
                      <a:pt x="123983" y="166327"/>
                      <a:pt x="123983" y="161161"/>
                    </a:cubicBezTo>
                    <a:cubicBezTo>
                      <a:pt x="123983" y="161161"/>
                      <a:pt x="123983" y="161161"/>
                      <a:pt x="123983" y="141546"/>
                    </a:cubicBezTo>
                    <a:close/>
                    <a:moveTo>
                      <a:pt x="144648" y="0"/>
                    </a:moveTo>
                    <a:cubicBezTo>
                      <a:pt x="178698" y="0"/>
                      <a:pt x="206301" y="27603"/>
                      <a:pt x="206301" y="61653"/>
                    </a:cubicBezTo>
                    <a:cubicBezTo>
                      <a:pt x="206301" y="95703"/>
                      <a:pt x="178698" y="123306"/>
                      <a:pt x="144648" y="123306"/>
                    </a:cubicBezTo>
                    <a:cubicBezTo>
                      <a:pt x="110598" y="123306"/>
                      <a:pt x="82995" y="95703"/>
                      <a:pt x="82995" y="61653"/>
                    </a:cubicBezTo>
                    <a:cubicBezTo>
                      <a:pt x="82995" y="27603"/>
                      <a:pt x="110598" y="0"/>
                      <a:pt x="144648" y="0"/>
                    </a:cubicBezTo>
                    <a:close/>
                  </a:path>
                </a:pathLst>
              </a:custGeom>
              <a:solidFill>
                <a:srgbClr val="4E4658"/>
              </a:solidFill>
              <a:ln>
                <a:noFill/>
              </a:ln>
            </p:spPr>
            <p:txBody>
              <a:bodyPr vert="horz" wrap="square" lIns="91440" tIns="45720" rIns="91440" bIns="45720" numCol="1" anchor="t" anchorCtr="0" compatLnSpc="1">
                <a:prstTxWarp prst="textNoShape">
                  <a:avLst/>
                </a:prstTxWarp>
                <a:noAutofit/>
              </a:bodyPr>
              <a:lstStyle/>
              <a:p>
                <a:endParaRPr lang="zh-CN" altLang="en-US"/>
              </a:p>
            </p:txBody>
          </p:sp>
          <p:grpSp>
            <p:nvGrpSpPr>
              <p:cNvPr id="645" name="组合 644">
                <a:extLst>
                  <a:ext uri="{FF2B5EF4-FFF2-40B4-BE49-F238E27FC236}">
                    <a16:creationId xmlns:a16="http://schemas.microsoft.com/office/drawing/2014/main" xmlns:p14="http://schemas.microsoft.com/office/powerpoint/2010/main" xmlns:a14="http://schemas.microsoft.com/office/drawing/2010/main" xmlns="" id="{A980D983-409E-4F6D-A8D7-AF3AA18366AA}"/>
                  </a:ext>
                </a:extLst>
              </p:cNvPr>
              <p:cNvGrpSpPr/>
              <p:nvPr/>
            </p:nvGrpSpPr>
            <p:grpSpPr>
              <a:xfrm>
                <a:off x="1710532" y="3031370"/>
                <a:ext cx="380194" cy="380158"/>
                <a:chOff x="4979129" y="5045363"/>
                <a:chExt cx="209362" cy="209343"/>
              </a:xfrm>
            </p:grpSpPr>
            <p:sp>
              <p:nvSpPr>
                <p:cNvPr id="646" name="矩形 645">
                  <a:extLst>
                    <a:ext uri="{FF2B5EF4-FFF2-40B4-BE49-F238E27FC236}">
                      <a16:creationId xmlns:a16="http://schemas.microsoft.com/office/drawing/2014/main" xmlns:p14="http://schemas.microsoft.com/office/powerpoint/2010/main" xmlns:a14="http://schemas.microsoft.com/office/drawing/2010/main" xmlns="" id="{E2EF094A-9F22-4CBF-A563-9F39A89EDE24}"/>
                    </a:ext>
                  </a:extLst>
                </p:cNvPr>
                <p:cNvSpPr/>
                <p:nvPr/>
              </p:nvSpPr>
              <p:spPr>
                <a:xfrm>
                  <a:off x="5001989" y="5068223"/>
                  <a:ext cx="164175" cy="164176"/>
                </a:xfrm>
                <a:prstGeom prst="rect">
                  <a:avLst/>
                </a:prstGeom>
                <a:no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47" name="椭圆 646">
                  <a:extLst>
                    <a:ext uri="{FF2B5EF4-FFF2-40B4-BE49-F238E27FC236}">
                      <a16:creationId xmlns:a16="http://schemas.microsoft.com/office/drawing/2014/main" xmlns:p14="http://schemas.microsoft.com/office/powerpoint/2010/main" xmlns:a14="http://schemas.microsoft.com/office/drawing/2010/main" xmlns="" id="{0A0E975C-2768-49C1-BC9B-15B2714B9184}"/>
                    </a:ext>
                  </a:extLst>
                </p:cNvPr>
                <p:cNvSpPr/>
                <p:nvPr/>
              </p:nvSpPr>
              <p:spPr>
                <a:xfrm flipH="1">
                  <a:off x="4979129" y="5045363"/>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8" name="椭圆 647">
                  <a:extLst>
                    <a:ext uri="{FF2B5EF4-FFF2-40B4-BE49-F238E27FC236}">
                      <a16:creationId xmlns:a16="http://schemas.microsoft.com/office/drawing/2014/main" xmlns:p14="http://schemas.microsoft.com/office/powerpoint/2010/main" xmlns:a14="http://schemas.microsoft.com/office/drawing/2010/main" xmlns="" id="{1AA69BA9-DB07-47A3-A2DB-3512B4181734}"/>
                    </a:ext>
                  </a:extLst>
                </p:cNvPr>
                <p:cNvSpPr/>
                <p:nvPr/>
              </p:nvSpPr>
              <p:spPr>
                <a:xfrm flipH="1">
                  <a:off x="5060950" y="5045363"/>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9" name="椭圆 648">
                  <a:extLst>
                    <a:ext uri="{FF2B5EF4-FFF2-40B4-BE49-F238E27FC236}">
                      <a16:creationId xmlns:a16="http://schemas.microsoft.com/office/drawing/2014/main" xmlns:p14="http://schemas.microsoft.com/office/powerpoint/2010/main" xmlns:a14="http://schemas.microsoft.com/office/drawing/2010/main" xmlns="" id="{A0DD3FB0-9AC4-4C67-AAB9-C1E208C41157}"/>
                    </a:ext>
                  </a:extLst>
                </p:cNvPr>
                <p:cNvSpPr/>
                <p:nvPr/>
              </p:nvSpPr>
              <p:spPr>
                <a:xfrm flipH="1">
                  <a:off x="5142771" y="5045363"/>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0" name="椭圆 649">
                  <a:extLst>
                    <a:ext uri="{FF2B5EF4-FFF2-40B4-BE49-F238E27FC236}">
                      <a16:creationId xmlns:a16="http://schemas.microsoft.com/office/drawing/2014/main" xmlns:p14="http://schemas.microsoft.com/office/powerpoint/2010/main" xmlns:a14="http://schemas.microsoft.com/office/drawing/2010/main" xmlns="" id="{92C7735D-63F6-4AA2-83DB-6B21C5788203}"/>
                    </a:ext>
                  </a:extLst>
                </p:cNvPr>
                <p:cNvSpPr/>
                <p:nvPr/>
              </p:nvSpPr>
              <p:spPr>
                <a:xfrm flipH="1">
                  <a:off x="4979129" y="5208986"/>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1" name="椭圆 650">
                  <a:extLst>
                    <a:ext uri="{FF2B5EF4-FFF2-40B4-BE49-F238E27FC236}">
                      <a16:creationId xmlns:a16="http://schemas.microsoft.com/office/drawing/2014/main" xmlns:p14="http://schemas.microsoft.com/office/powerpoint/2010/main" xmlns:a14="http://schemas.microsoft.com/office/drawing/2010/main" xmlns="" id="{DF364357-CE3D-4673-B0A2-05FDF922165F}"/>
                    </a:ext>
                  </a:extLst>
                </p:cNvPr>
                <p:cNvSpPr/>
                <p:nvPr/>
              </p:nvSpPr>
              <p:spPr>
                <a:xfrm flipH="1">
                  <a:off x="5060950" y="5208986"/>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2" name="椭圆 651">
                  <a:extLst>
                    <a:ext uri="{FF2B5EF4-FFF2-40B4-BE49-F238E27FC236}">
                      <a16:creationId xmlns:a16="http://schemas.microsoft.com/office/drawing/2014/main" xmlns:p14="http://schemas.microsoft.com/office/powerpoint/2010/main" xmlns:a14="http://schemas.microsoft.com/office/drawing/2010/main" xmlns="" id="{2693782D-19FB-4370-B8E7-05C833C254BD}"/>
                    </a:ext>
                  </a:extLst>
                </p:cNvPr>
                <p:cNvSpPr/>
                <p:nvPr/>
              </p:nvSpPr>
              <p:spPr>
                <a:xfrm flipH="1">
                  <a:off x="5142771" y="5208986"/>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3" name="椭圆 652">
                  <a:extLst>
                    <a:ext uri="{FF2B5EF4-FFF2-40B4-BE49-F238E27FC236}">
                      <a16:creationId xmlns:a16="http://schemas.microsoft.com/office/drawing/2014/main" xmlns:p14="http://schemas.microsoft.com/office/powerpoint/2010/main" xmlns:a14="http://schemas.microsoft.com/office/drawing/2010/main" xmlns="" id="{1452D86B-89ED-4307-84D8-78666F3CBC06}"/>
                    </a:ext>
                  </a:extLst>
                </p:cNvPr>
                <p:cNvSpPr/>
                <p:nvPr/>
              </p:nvSpPr>
              <p:spPr>
                <a:xfrm flipH="1">
                  <a:off x="4979129" y="5123645"/>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4" name="椭圆 653">
                  <a:extLst>
                    <a:ext uri="{FF2B5EF4-FFF2-40B4-BE49-F238E27FC236}">
                      <a16:creationId xmlns:a16="http://schemas.microsoft.com/office/drawing/2014/main" xmlns:p14="http://schemas.microsoft.com/office/powerpoint/2010/main" xmlns:a14="http://schemas.microsoft.com/office/drawing/2010/main" xmlns="" id="{48D7D6B8-AE14-4CEE-9140-AEE799D035C4}"/>
                    </a:ext>
                  </a:extLst>
                </p:cNvPr>
                <p:cNvSpPr/>
                <p:nvPr/>
              </p:nvSpPr>
              <p:spPr>
                <a:xfrm flipH="1">
                  <a:off x="5142771" y="5123645"/>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19" name="组合 18">
            <a:extLst>
              <a:ext uri="{FF2B5EF4-FFF2-40B4-BE49-F238E27FC236}">
                <a16:creationId xmlns:a16="http://schemas.microsoft.com/office/drawing/2014/main" xmlns:p14="http://schemas.microsoft.com/office/powerpoint/2010/main" xmlns:a14="http://schemas.microsoft.com/office/drawing/2010/main" xmlns="" id="{A953E1EA-5442-446E-A462-53B91D8B981C}"/>
              </a:ext>
            </a:extLst>
          </p:cNvPr>
          <p:cNvGrpSpPr/>
          <p:nvPr/>
        </p:nvGrpSpPr>
        <p:grpSpPr>
          <a:xfrm>
            <a:off x="8024992" y="1959178"/>
            <a:ext cx="3493913" cy="2403813"/>
            <a:chOff x="8024986" y="1959176"/>
            <a:chExt cx="3493913" cy="2403813"/>
          </a:xfrm>
        </p:grpSpPr>
        <p:grpSp>
          <p:nvGrpSpPr>
            <p:cNvPr id="13" name="组合 12">
              <a:extLst>
                <a:ext uri="{FF2B5EF4-FFF2-40B4-BE49-F238E27FC236}">
                  <a16:creationId xmlns:a16="http://schemas.microsoft.com/office/drawing/2014/main" xmlns:p14="http://schemas.microsoft.com/office/powerpoint/2010/main" xmlns:a14="http://schemas.microsoft.com/office/drawing/2010/main" xmlns="" id="{B57002A2-7F15-448F-AC09-094CA63BCDD2}"/>
                </a:ext>
              </a:extLst>
            </p:cNvPr>
            <p:cNvGrpSpPr/>
            <p:nvPr/>
          </p:nvGrpSpPr>
          <p:grpSpPr>
            <a:xfrm>
              <a:off x="8024986" y="1959176"/>
              <a:ext cx="3493913" cy="2403813"/>
              <a:chOff x="8024986" y="1959176"/>
              <a:chExt cx="3493913" cy="2403813"/>
            </a:xfrm>
          </p:grpSpPr>
          <p:sp>
            <p:nvSpPr>
              <p:cNvPr id="527" name="Freeform 6">
                <a:extLst>
                  <a:ext uri="{FF2B5EF4-FFF2-40B4-BE49-F238E27FC236}">
                    <a16:creationId xmlns:a16="http://schemas.microsoft.com/office/drawing/2014/main" xmlns:p14="http://schemas.microsoft.com/office/powerpoint/2010/main" xmlns:a14="http://schemas.microsoft.com/office/drawing/2010/main" xmlns="" id="{D0DB7F0C-3F1A-432C-B5BF-314B0EC0181B}"/>
                  </a:ext>
                </a:extLst>
              </p:cNvPr>
              <p:cNvSpPr>
                <a:spLocks/>
              </p:cNvSpPr>
              <p:nvPr/>
            </p:nvSpPr>
            <p:spPr bwMode="auto">
              <a:xfrm>
                <a:off x="8024986"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28" name="矩形: 圆角 527">
                <a:extLst>
                  <a:ext uri="{FF2B5EF4-FFF2-40B4-BE49-F238E27FC236}">
                    <a16:creationId xmlns:a16="http://schemas.microsoft.com/office/drawing/2014/main" xmlns:p14="http://schemas.microsoft.com/office/powerpoint/2010/main" xmlns:a14="http://schemas.microsoft.com/office/drawing/2010/main" xmlns="" id="{366E25C9-4663-44AF-83DB-5C2883180C00}"/>
                  </a:ext>
                </a:extLst>
              </p:cNvPr>
              <p:cNvSpPr>
                <a:spLocks noChangeAspect="1"/>
              </p:cNvSpPr>
              <p:nvPr/>
            </p:nvSpPr>
            <p:spPr>
              <a:xfrm>
                <a:off x="8162338"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9" name="Rectangle 8">
                <a:extLst>
                  <a:ext uri="{FF2B5EF4-FFF2-40B4-BE49-F238E27FC236}">
                    <a16:creationId xmlns:a16="http://schemas.microsoft.com/office/drawing/2014/main" xmlns:p14="http://schemas.microsoft.com/office/powerpoint/2010/main" xmlns:a14="http://schemas.microsoft.com/office/drawing/2010/main" xmlns="" id="{A79FABC5-26F1-4EC6-9EC7-C32D22030AEA}"/>
                  </a:ext>
                </a:extLst>
              </p:cNvPr>
              <p:cNvSpPr>
                <a:spLocks noChangeArrowheads="1"/>
              </p:cNvSpPr>
              <p:nvPr/>
            </p:nvSpPr>
            <p:spPr bwMode="auto">
              <a:xfrm>
                <a:off x="8162340"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0" name="Rectangle 9">
                <a:extLst>
                  <a:ext uri="{FF2B5EF4-FFF2-40B4-BE49-F238E27FC236}">
                    <a16:creationId xmlns:a16="http://schemas.microsoft.com/office/drawing/2014/main" xmlns:p14="http://schemas.microsoft.com/office/powerpoint/2010/main" xmlns:a14="http://schemas.microsoft.com/office/drawing/2010/main" xmlns="" id="{3D7B81C0-B20F-4397-BDE9-EF21FFB82AB9}"/>
                  </a:ext>
                </a:extLst>
              </p:cNvPr>
              <p:cNvSpPr>
                <a:spLocks noChangeArrowheads="1"/>
              </p:cNvSpPr>
              <p:nvPr/>
            </p:nvSpPr>
            <p:spPr bwMode="auto">
              <a:xfrm>
                <a:off x="8162340"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1" name="Oval 14">
                <a:extLst>
                  <a:ext uri="{FF2B5EF4-FFF2-40B4-BE49-F238E27FC236}">
                    <a16:creationId xmlns:a16="http://schemas.microsoft.com/office/drawing/2014/main" xmlns:p14="http://schemas.microsoft.com/office/powerpoint/2010/main" xmlns:a14="http://schemas.microsoft.com/office/drawing/2010/main" xmlns="" id="{F2F08DE4-71E4-4577-ADDE-1956E19457DF}"/>
                  </a:ext>
                </a:extLst>
              </p:cNvPr>
              <p:cNvSpPr>
                <a:spLocks noChangeArrowheads="1"/>
              </p:cNvSpPr>
              <p:nvPr/>
            </p:nvSpPr>
            <p:spPr bwMode="auto">
              <a:xfrm>
                <a:off x="8523496"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2" name="Oval 15">
                <a:extLst>
                  <a:ext uri="{FF2B5EF4-FFF2-40B4-BE49-F238E27FC236}">
                    <a16:creationId xmlns:a16="http://schemas.microsoft.com/office/drawing/2014/main" xmlns:p14="http://schemas.microsoft.com/office/powerpoint/2010/main" xmlns:a14="http://schemas.microsoft.com/office/drawing/2010/main" xmlns="" id="{4AF1E064-9F5D-47E7-8FC3-DEE7D1EA1963}"/>
                  </a:ext>
                </a:extLst>
              </p:cNvPr>
              <p:cNvSpPr>
                <a:spLocks noChangeArrowheads="1"/>
              </p:cNvSpPr>
              <p:nvPr/>
            </p:nvSpPr>
            <p:spPr bwMode="auto">
              <a:xfrm>
                <a:off x="862819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3" name="Oval 16">
                <a:extLst>
                  <a:ext uri="{FF2B5EF4-FFF2-40B4-BE49-F238E27FC236}">
                    <a16:creationId xmlns:a16="http://schemas.microsoft.com/office/drawing/2014/main" xmlns:p14="http://schemas.microsoft.com/office/powerpoint/2010/main" xmlns:a14="http://schemas.microsoft.com/office/drawing/2010/main" xmlns="" id="{E391C315-1646-461A-B27D-B6395580D893}"/>
                  </a:ext>
                </a:extLst>
              </p:cNvPr>
              <p:cNvSpPr>
                <a:spLocks noChangeArrowheads="1"/>
              </p:cNvSpPr>
              <p:nvPr/>
            </p:nvSpPr>
            <p:spPr bwMode="auto">
              <a:xfrm>
                <a:off x="8732889"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4" name="Freeform 18">
                <a:extLst>
                  <a:ext uri="{FF2B5EF4-FFF2-40B4-BE49-F238E27FC236}">
                    <a16:creationId xmlns:a16="http://schemas.microsoft.com/office/drawing/2014/main" xmlns:p14="http://schemas.microsoft.com/office/powerpoint/2010/main" xmlns:a14="http://schemas.microsoft.com/office/drawing/2010/main" xmlns="" id="{1BFDB322-46E4-47DC-A1ED-B47F015723A6}"/>
                  </a:ext>
                </a:extLst>
              </p:cNvPr>
              <p:cNvSpPr>
                <a:spLocks/>
              </p:cNvSpPr>
              <p:nvPr/>
            </p:nvSpPr>
            <p:spPr bwMode="auto">
              <a:xfrm>
                <a:off x="8967257"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5" name="Rectangle 19">
                <a:extLst>
                  <a:ext uri="{FF2B5EF4-FFF2-40B4-BE49-F238E27FC236}">
                    <a16:creationId xmlns:a16="http://schemas.microsoft.com/office/drawing/2014/main" xmlns:p14="http://schemas.microsoft.com/office/powerpoint/2010/main" xmlns:a14="http://schemas.microsoft.com/office/drawing/2010/main" xmlns="" id="{44E9B971-12B9-4264-8D7D-460E1FD76CF3}"/>
                  </a:ext>
                </a:extLst>
              </p:cNvPr>
              <p:cNvSpPr>
                <a:spLocks noChangeArrowheads="1"/>
              </p:cNvSpPr>
              <p:nvPr/>
            </p:nvSpPr>
            <p:spPr bwMode="auto">
              <a:xfrm>
                <a:off x="9089243"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6" name="Freeform 20">
                <a:extLst>
                  <a:ext uri="{FF2B5EF4-FFF2-40B4-BE49-F238E27FC236}">
                    <a16:creationId xmlns:a16="http://schemas.microsoft.com/office/drawing/2014/main" xmlns:p14="http://schemas.microsoft.com/office/powerpoint/2010/main" xmlns:a14="http://schemas.microsoft.com/office/drawing/2010/main" xmlns="" id="{EA314B02-C47E-4D32-B9FC-9118DF1A6AA4}"/>
                  </a:ext>
                </a:extLst>
              </p:cNvPr>
              <p:cNvSpPr>
                <a:spLocks/>
              </p:cNvSpPr>
              <p:nvPr/>
            </p:nvSpPr>
            <p:spPr bwMode="auto">
              <a:xfrm>
                <a:off x="8491798"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7" name="Freeform 21">
                <a:extLst>
                  <a:ext uri="{FF2B5EF4-FFF2-40B4-BE49-F238E27FC236}">
                    <a16:creationId xmlns:a16="http://schemas.microsoft.com/office/drawing/2014/main" xmlns:p14="http://schemas.microsoft.com/office/powerpoint/2010/main" xmlns:a14="http://schemas.microsoft.com/office/drawing/2010/main" xmlns="" id="{913CAEE0-753D-431F-83B9-B272C447A700}"/>
                  </a:ext>
                </a:extLst>
              </p:cNvPr>
              <p:cNvSpPr>
                <a:spLocks/>
              </p:cNvSpPr>
              <p:nvPr/>
            </p:nvSpPr>
            <p:spPr bwMode="auto">
              <a:xfrm>
                <a:off x="9669398"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8" name="Freeform 22">
                <a:extLst>
                  <a:ext uri="{FF2B5EF4-FFF2-40B4-BE49-F238E27FC236}">
                    <a16:creationId xmlns:a16="http://schemas.microsoft.com/office/drawing/2014/main" xmlns:p14="http://schemas.microsoft.com/office/powerpoint/2010/main" xmlns:a14="http://schemas.microsoft.com/office/drawing/2010/main" xmlns="" id="{5CE63E49-B6CC-43DD-904D-EC6F5224AC0A}"/>
                  </a:ext>
                </a:extLst>
              </p:cNvPr>
              <p:cNvSpPr>
                <a:spLocks/>
              </p:cNvSpPr>
              <p:nvPr/>
            </p:nvSpPr>
            <p:spPr bwMode="auto">
              <a:xfrm>
                <a:off x="10109316"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9" name="Freeform 23">
                <a:extLst>
                  <a:ext uri="{FF2B5EF4-FFF2-40B4-BE49-F238E27FC236}">
                    <a16:creationId xmlns:a16="http://schemas.microsoft.com/office/drawing/2014/main" xmlns:p14="http://schemas.microsoft.com/office/powerpoint/2010/main" xmlns:a14="http://schemas.microsoft.com/office/drawing/2010/main" xmlns="" id="{ABA5EC36-D29E-4F6C-9502-C25F2137BD81}"/>
                  </a:ext>
                </a:extLst>
              </p:cNvPr>
              <p:cNvSpPr>
                <a:spLocks/>
              </p:cNvSpPr>
              <p:nvPr/>
            </p:nvSpPr>
            <p:spPr bwMode="auto">
              <a:xfrm>
                <a:off x="10549235"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41" name="矩形: 圆角 540">
                <a:extLst>
                  <a:ext uri="{FF2B5EF4-FFF2-40B4-BE49-F238E27FC236}">
                    <a16:creationId xmlns:a16="http://schemas.microsoft.com/office/drawing/2014/main" xmlns:p14="http://schemas.microsoft.com/office/powerpoint/2010/main" xmlns:a14="http://schemas.microsoft.com/office/drawing/2010/main" xmlns="" id="{3F86DCD2-D9CF-46E6-BFD1-BAB8916DC2EA}"/>
                  </a:ext>
                </a:extLst>
              </p:cNvPr>
              <p:cNvSpPr>
                <a:spLocks noChangeAspect="1"/>
              </p:cNvSpPr>
              <p:nvPr/>
            </p:nvSpPr>
            <p:spPr>
              <a:xfrm>
                <a:off x="8162338"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42" name="矩形: 圆角 541">
                <a:extLst>
                  <a:ext uri="{FF2B5EF4-FFF2-40B4-BE49-F238E27FC236}">
                    <a16:creationId xmlns:a16="http://schemas.microsoft.com/office/drawing/2014/main" xmlns:p14="http://schemas.microsoft.com/office/powerpoint/2010/main" xmlns:a14="http://schemas.microsoft.com/office/drawing/2010/main" xmlns="" id="{D6A00E65-2537-4774-A8D8-F642FACABC2F}"/>
                  </a:ext>
                </a:extLst>
              </p:cNvPr>
              <p:cNvSpPr>
                <a:spLocks noChangeAspect="1"/>
              </p:cNvSpPr>
              <p:nvPr/>
            </p:nvSpPr>
            <p:spPr>
              <a:xfrm>
                <a:off x="8162338"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44" name="矩形: 圆角 543">
                <a:extLst>
                  <a:ext uri="{FF2B5EF4-FFF2-40B4-BE49-F238E27FC236}">
                    <a16:creationId xmlns:a16="http://schemas.microsoft.com/office/drawing/2014/main" xmlns:p14="http://schemas.microsoft.com/office/powerpoint/2010/main" xmlns:a14="http://schemas.microsoft.com/office/drawing/2010/main" xmlns="" id="{D882A42A-7B06-40CE-B447-A09172C76D13}"/>
                  </a:ext>
                </a:extLst>
              </p:cNvPr>
              <p:cNvSpPr>
                <a:spLocks noChangeAspect="1"/>
              </p:cNvSpPr>
              <p:nvPr/>
            </p:nvSpPr>
            <p:spPr>
              <a:xfrm>
                <a:off x="8162338"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45" name="矩形: 圆角 544">
                <a:extLst>
                  <a:ext uri="{FF2B5EF4-FFF2-40B4-BE49-F238E27FC236}">
                    <a16:creationId xmlns:a16="http://schemas.microsoft.com/office/drawing/2014/main" xmlns:p14="http://schemas.microsoft.com/office/powerpoint/2010/main" xmlns:a14="http://schemas.microsoft.com/office/drawing/2010/main" xmlns="" id="{A569696E-1132-41A6-BC06-5898FDCC97B4}"/>
                  </a:ext>
                </a:extLst>
              </p:cNvPr>
              <p:cNvSpPr>
                <a:spLocks noChangeAspect="1"/>
              </p:cNvSpPr>
              <p:nvPr/>
            </p:nvSpPr>
            <p:spPr>
              <a:xfrm>
                <a:off x="8800745"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36" name="矩形: 圆角 135">
                <a:extLst>
                  <a:ext uri="{FF2B5EF4-FFF2-40B4-BE49-F238E27FC236}">
                    <a16:creationId xmlns:a16="http://schemas.microsoft.com/office/drawing/2014/main" xmlns:p14="http://schemas.microsoft.com/office/powerpoint/2010/main" xmlns:a14="http://schemas.microsoft.com/office/drawing/2010/main" xmlns="" id="{73718C15-8B09-4939-AE5C-40AE1079D83C}"/>
                  </a:ext>
                </a:extLst>
              </p:cNvPr>
              <p:cNvSpPr>
                <a:spLocks noChangeAspect="1"/>
              </p:cNvSpPr>
              <p:nvPr/>
            </p:nvSpPr>
            <p:spPr>
              <a:xfrm>
                <a:off x="8162338"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6" name="组合 15">
              <a:extLst>
                <a:ext uri="{FF2B5EF4-FFF2-40B4-BE49-F238E27FC236}">
                  <a16:creationId xmlns:a16="http://schemas.microsoft.com/office/drawing/2014/main" xmlns:p14="http://schemas.microsoft.com/office/powerpoint/2010/main" xmlns:a14="http://schemas.microsoft.com/office/drawing/2010/main" xmlns="" id="{9B9AB381-004E-4056-9790-0522D6B2A26B}"/>
                </a:ext>
              </a:extLst>
            </p:cNvPr>
            <p:cNvGrpSpPr/>
            <p:nvPr/>
          </p:nvGrpSpPr>
          <p:grpSpPr>
            <a:xfrm>
              <a:off x="8977536" y="2998805"/>
              <a:ext cx="2224728" cy="1011538"/>
              <a:chOff x="8977536" y="2998805"/>
              <a:chExt cx="2224728" cy="1011538"/>
            </a:xfrm>
          </p:grpSpPr>
          <p:sp>
            <p:nvSpPr>
              <p:cNvPr id="543" name="矩形 542">
                <a:extLst>
                  <a:ext uri="{FF2B5EF4-FFF2-40B4-BE49-F238E27FC236}">
                    <a16:creationId xmlns:a16="http://schemas.microsoft.com/office/drawing/2014/main" xmlns:p14="http://schemas.microsoft.com/office/powerpoint/2010/main" xmlns:a14="http://schemas.microsoft.com/office/drawing/2010/main" xmlns="" id="{10BBD707-7622-4846-AC35-F64FAF320131}"/>
                  </a:ext>
                </a:extLst>
              </p:cNvPr>
              <p:cNvSpPr/>
              <p:nvPr/>
            </p:nvSpPr>
            <p:spPr>
              <a:xfrm>
                <a:off x="9010192"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546" name="组合 545">
                <a:extLst>
                  <a:ext uri="{FF2B5EF4-FFF2-40B4-BE49-F238E27FC236}">
                    <a16:creationId xmlns:a16="http://schemas.microsoft.com/office/drawing/2014/main" xmlns:p14="http://schemas.microsoft.com/office/powerpoint/2010/main" xmlns:a14="http://schemas.microsoft.com/office/drawing/2010/main" xmlns="" id="{4FF503A4-23B1-47BE-AC5D-58EAF4A524B1}"/>
                  </a:ext>
                </a:extLst>
              </p:cNvPr>
              <p:cNvGrpSpPr/>
              <p:nvPr/>
            </p:nvGrpSpPr>
            <p:grpSpPr>
              <a:xfrm>
                <a:off x="8977536" y="2998805"/>
                <a:ext cx="2224728" cy="1011538"/>
                <a:chOff x="958894" y="2827593"/>
                <a:chExt cx="996293" cy="452994"/>
              </a:xfrm>
            </p:grpSpPr>
            <p:sp>
              <p:nvSpPr>
                <p:cNvPr id="555" name="六边形 554">
                  <a:extLst>
                    <a:ext uri="{FF2B5EF4-FFF2-40B4-BE49-F238E27FC236}">
                      <a16:creationId xmlns:a16="http://schemas.microsoft.com/office/drawing/2014/main" xmlns:p14="http://schemas.microsoft.com/office/powerpoint/2010/main" xmlns:a14="http://schemas.microsoft.com/office/drawing/2010/main" xmlns="" id="{C81E0498-C03F-4C88-B8E8-BA820C3AC361}"/>
                    </a:ext>
                  </a:extLst>
                </p:cNvPr>
                <p:cNvSpPr/>
                <p:nvPr/>
              </p:nvSpPr>
              <p:spPr>
                <a:xfrm>
                  <a:off x="958894" y="2827593"/>
                  <a:ext cx="244045" cy="21038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556" name="六边形 555">
                  <a:extLst>
                    <a:ext uri="{FF2B5EF4-FFF2-40B4-BE49-F238E27FC236}">
                      <a16:creationId xmlns:a16="http://schemas.microsoft.com/office/drawing/2014/main" xmlns:p14="http://schemas.microsoft.com/office/powerpoint/2010/main" xmlns:a14="http://schemas.microsoft.com/office/drawing/2010/main" xmlns="" id="{85CA280C-D2AD-4B92-B853-8C8222275E69}"/>
                    </a:ext>
                  </a:extLst>
                </p:cNvPr>
                <p:cNvSpPr/>
                <p:nvPr/>
              </p:nvSpPr>
              <p:spPr>
                <a:xfrm>
                  <a:off x="1181077" y="2946762"/>
                  <a:ext cx="244045" cy="21038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557" name="六边形 556">
                  <a:extLst>
                    <a:ext uri="{FF2B5EF4-FFF2-40B4-BE49-F238E27FC236}">
                      <a16:creationId xmlns:a16="http://schemas.microsoft.com/office/drawing/2014/main" xmlns:p14="http://schemas.microsoft.com/office/powerpoint/2010/main" xmlns:a14="http://schemas.microsoft.com/office/drawing/2010/main" xmlns="" id="{0C969DE1-AE61-4723-86A3-FAF3F49BA56E}"/>
                    </a:ext>
                  </a:extLst>
                </p:cNvPr>
                <p:cNvSpPr/>
                <p:nvPr/>
              </p:nvSpPr>
              <p:spPr>
                <a:xfrm>
                  <a:off x="963319" y="3070205"/>
                  <a:ext cx="244044" cy="210382"/>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558" name="矩形 557">
                  <a:extLst>
                    <a:ext uri="{FF2B5EF4-FFF2-40B4-BE49-F238E27FC236}">
                      <a16:creationId xmlns:a16="http://schemas.microsoft.com/office/drawing/2014/main" xmlns:p14="http://schemas.microsoft.com/office/powerpoint/2010/main" xmlns:a14="http://schemas.microsoft.com/office/drawing/2010/main" xmlns="" id="{0B77D82E-E026-424E-B009-DAA6B58B8284}"/>
                    </a:ext>
                  </a:extLst>
                </p:cNvPr>
                <p:cNvSpPr/>
                <p:nvPr/>
              </p:nvSpPr>
              <p:spPr>
                <a:xfrm>
                  <a:off x="1503125" y="2929429"/>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59" name="矩形 558">
                  <a:extLst>
                    <a:ext uri="{FF2B5EF4-FFF2-40B4-BE49-F238E27FC236}">
                      <a16:creationId xmlns:a16="http://schemas.microsoft.com/office/drawing/2014/main" xmlns:p14="http://schemas.microsoft.com/office/powerpoint/2010/main" xmlns:a14="http://schemas.microsoft.com/office/drawing/2010/main" xmlns="" id="{4DB09F39-F909-4E31-B594-4541A6628E80}"/>
                    </a:ext>
                  </a:extLst>
                </p:cNvPr>
                <p:cNvSpPr/>
                <p:nvPr/>
              </p:nvSpPr>
              <p:spPr>
                <a:xfrm>
                  <a:off x="1503123" y="3026702"/>
                  <a:ext cx="39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560" name="矩形 559">
                  <a:extLst>
                    <a:ext uri="{FF2B5EF4-FFF2-40B4-BE49-F238E27FC236}">
                      <a16:creationId xmlns:a16="http://schemas.microsoft.com/office/drawing/2014/main" xmlns:p14="http://schemas.microsoft.com/office/powerpoint/2010/main" xmlns:a14="http://schemas.microsoft.com/office/drawing/2010/main" xmlns="" id="{9F60DA02-9D3A-4347-B32F-5B3D00206CA0}"/>
                    </a:ext>
                  </a:extLst>
                </p:cNvPr>
                <p:cNvSpPr/>
                <p:nvPr/>
              </p:nvSpPr>
              <p:spPr>
                <a:xfrm>
                  <a:off x="1503123" y="3124751"/>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548" name="Freeform 499">
                <a:extLst>
                  <a:ext uri="{FF2B5EF4-FFF2-40B4-BE49-F238E27FC236}">
                    <a16:creationId xmlns:a16="http://schemas.microsoft.com/office/drawing/2014/main" xmlns:p14="http://schemas.microsoft.com/office/powerpoint/2010/main" xmlns:a14="http://schemas.microsoft.com/office/drawing/2010/main" xmlns="" id="{03A46AFF-3D3B-40E9-A60F-688EDD456656}"/>
                  </a:ext>
                </a:extLst>
              </p:cNvPr>
              <p:cNvSpPr>
                <a:spLocks noChangeArrowheads="1"/>
              </p:cNvSpPr>
              <p:nvPr/>
            </p:nvSpPr>
            <p:spPr bwMode="auto">
              <a:xfrm>
                <a:off x="9107228" y="3101934"/>
                <a:ext cx="289295" cy="262601"/>
              </a:xfrm>
              <a:custGeom>
                <a:avLst/>
                <a:gdLst>
                  <a:gd name="T0" fmla="*/ 12091 w 12800"/>
                  <a:gd name="T1" fmla="*/ 0 h 11619"/>
                  <a:gd name="T2" fmla="*/ 709 w 12800"/>
                  <a:gd name="T3" fmla="*/ 0 h 11619"/>
                  <a:gd name="T4" fmla="*/ 0 w 12800"/>
                  <a:gd name="T5" fmla="*/ 708 h 11619"/>
                  <a:gd name="T6" fmla="*/ 0 w 12800"/>
                  <a:gd name="T7" fmla="*/ 8504 h 11619"/>
                  <a:gd name="T8" fmla="*/ 709 w 12800"/>
                  <a:gd name="T9" fmla="*/ 9212 h 11619"/>
                  <a:gd name="T10" fmla="*/ 3860 w 12800"/>
                  <a:gd name="T11" fmla="*/ 9212 h 11619"/>
                  <a:gd name="T12" fmla="*/ 3860 w 12800"/>
                  <a:gd name="T13" fmla="*/ 10556 h 11619"/>
                  <a:gd name="T14" fmla="*/ 2131 w 12800"/>
                  <a:gd name="T15" fmla="*/ 10556 h 11619"/>
                  <a:gd name="T16" fmla="*/ 1600 w 12800"/>
                  <a:gd name="T17" fmla="*/ 11087 h 11619"/>
                  <a:gd name="T18" fmla="*/ 2131 w 12800"/>
                  <a:gd name="T19" fmla="*/ 11619 h 11619"/>
                  <a:gd name="T20" fmla="*/ 10669 w 12800"/>
                  <a:gd name="T21" fmla="*/ 11619 h 11619"/>
                  <a:gd name="T22" fmla="*/ 11200 w 12800"/>
                  <a:gd name="T23" fmla="*/ 11087 h 11619"/>
                  <a:gd name="T24" fmla="*/ 10669 w 12800"/>
                  <a:gd name="T25" fmla="*/ 10556 h 11619"/>
                  <a:gd name="T26" fmla="*/ 8941 w 12800"/>
                  <a:gd name="T27" fmla="*/ 10556 h 11619"/>
                  <a:gd name="T28" fmla="*/ 8941 w 12800"/>
                  <a:gd name="T29" fmla="*/ 9212 h 11619"/>
                  <a:gd name="T30" fmla="*/ 12091 w 12800"/>
                  <a:gd name="T31" fmla="*/ 9212 h 11619"/>
                  <a:gd name="T32" fmla="*/ 12800 w 12800"/>
                  <a:gd name="T33" fmla="*/ 8504 h 11619"/>
                  <a:gd name="T34" fmla="*/ 12800 w 12800"/>
                  <a:gd name="T35" fmla="*/ 708 h 11619"/>
                  <a:gd name="T36" fmla="*/ 12091 w 12800"/>
                  <a:gd name="T37" fmla="*/ 0 h 11619"/>
                  <a:gd name="T38" fmla="*/ 12050 w 12800"/>
                  <a:gd name="T39" fmla="*/ 8462 h 11619"/>
                  <a:gd name="T40" fmla="*/ 750 w 12800"/>
                  <a:gd name="T41" fmla="*/ 8462 h 11619"/>
                  <a:gd name="T42" fmla="*/ 750 w 12800"/>
                  <a:gd name="T43" fmla="*/ 750 h 11619"/>
                  <a:gd name="T44" fmla="*/ 12050 w 12800"/>
                  <a:gd name="T45" fmla="*/ 750 h 11619"/>
                  <a:gd name="T46" fmla="*/ 12050 w 12800"/>
                  <a:gd name="T47" fmla="*/ 8462 h 11619"/>
                  <a:gd name="T48" fmla="*/ 1971 w 12800"/>
                  <a:gd name="T49" fmla="*/ 1948 h 11619"/>
                  <a:gd name="T50" fmla="*/ 10829 w 12800"/>
                  <a:gd name="T51" fmla="*/ 1948 h 11619"/>
                  <a:gd name="T52" fmla="*/ 10829 w 12800"/>
                  <a:gd name="T53" fmla="*/ 7263 h 11619"/>
                  <a:gd name="T54" fmla="*/ 1971 w 12800"/>
                  <a:gd name="T55" fmla="*/ 7263 h 11619"/>
                  <a:gd name="T56" fmla="*/ 1971 w 12800"/>
                  <a:gd name="T57" fmla="*/ 1948 h 1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00" h="11619">
                    <a:moveTo>
                      <a:pt x="12091" y="0"/>
                    </a:moveTo>
                    <a:lnTo>
                      <a:pt x="709" y="0"/>
                    </a:lnTo>
                    <a:cubicBezTo>
                      <a:pt x="317" y="0"/>
                      <a:pt x="0" y="317"/>
                      <a:pt x="0" y="708"/>
                    </a:cubicBezTo>
                    <a:lnTo>
                      <a:pt x="0" y="8504"/>
                    </a:lnTo>
                    <a:cubicBezTo>
                      <a:pt x="0" y="8895"/>
                      <a:pt x="317" y="9212"/>
                      <a:pt x="709" y="9212"/>
                    </a:cubicBezTo>
                    <a:lnTo>
                      <a:pt x="3860" y="9212"/>
                    </a:lnTo>
                    <a:lnTo>
                      <a:pt x="3860" y="10556"/>
                    </a:lnTo>
                    <a:lnTo>
                      <a:pt x="2131" y="10556"/>
                    </a:lnTo>
                    <a:cubicBezTo>
                      <a:pt x="1838" y="10556"/>
                      <a:pt x="1600" y="10794"/>
                      <a:pt x="1600" y="11087"/>
                    </a:cubicBezTo>
                    <a:cubicBezTo>
                      <a:pt x="1600" y="11381"/>
                      <a:pt x="1838" y="11619"/>
                      <a:pt x="2131" y="11619"/>
                    </a:cubicBezTo>
                    <a:lnTo>
                      <a:pt x="10669" y="11619"/>
                    </a:lnTo>
                    <a:cubicBezTo>
                      <a:pt x="10962" y="11619"/>
                      <a:pt x="11200" y="11381"/>
                      <a:pt x="11200" y="11087"/>
                    </a:cubicBezTo>
                    <a:cubicBezTo>
                      <a:pt x="11200" y="10794"/>
                      <a:pt x="10962" y="10556"/>
                      <a:pt x="10669" y="10556"/>
                    </a:cubicBezTo>
                    <a:lnTo>
                      <a:pt x="8941" y="10556"/>
                    </a:lnTo>
                    <a:lnTo>
                      <a:pt x="8941" y="9212"/>
                    </a:lnTo>
                    <a:lnTo>
                      <a:pt x="12091" y="9212"/>
                    </a:lnTo>
                    <a:cubicBezTo>
                      <a:pt x="12483" y="9212"/>
                      <a:pt x="12800" y="8895"/>
                      <a:pt x="12800" y="8504"/>
                    </a:cubicBezTo>
                    <a:lnTo>
                      <a:pt x="12800" y="708"/>
                    </a:lnTo>
                    <a:cubicBezTo>
                      <a:pt x="12800" y="317"/>
                      <a:pt x="12483" y="0"/>
                      <a:pt x="12091" y="0"/>
                    </a:cubicBezTo>
                    <a:close/>
                    <a:moveTo>
                      <a:pt x="12050" y="8462"/>
                    </a:moveTo>
                    <a:lnTo>
                      <a:pt x="750" y="8462"/>
                    </a:lnTo>
                    <a:lnTo>
                      <a:pt x="750" y="750"/>
                    </a:lnTo>
                    <a:lnTo>
                      <a:pt x="12050" y="750"/>
                    </a:lnTo>
                    <a:lnTo>
                      <a:pt x="12050" y="8462"/>
                    </a:lnTo>
                    <a:close/>
                    <a:moveTo>
                      <a:pt x="1971" y="1948"/>
                    </a:moveTo>
                    <a:lnTo>
                      <a:pt x="10829" y="1948"/>
                    </a:lnTo>
                    <a:lnTo>
                      <a:pt x="10829" y="7263"/>
                    </a:lnTo>
                    <a:lnTo>
                      <a:pt x="1971" y="7263"/>
                    </a:lnTo>
                    <a:lnTo>
                      <a:pt x="1971" y="1948"/>
                    </a:lnTo>
                    <a:close/>
                  </a:path>
                </a:pathLst>
              </a:custGeom>
              <a:solidFill>
                <a:srgbClr val="4E4658"/>
              </a:solidFill>
              <a:ln>
                <a:noFill/>
              </a:ln>
            </p:spPr>
            <p:txBody>
              <a:bodyPr vert="horz" wrap="square" lIns="91440" tIns="45720" rIns="91440" bIns="45720" numCol="1" anchor="t" anchorCtr="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grpSp>
        <p:nvGrpSpPr>
          <p:cNvPr id="25" name="组合 24">
            <a:extLst>
              <a:ext uri="{FF2B5EF4-FFF2-40B4-BE49-F238E27FC236}">
                <a16:creationId xmlns:a16="http://schemas.microsoft.com/office/drawing/2014/main" xmlns:p14="http://schemas.microsoft.com/office/powerpoint/2010/main" xmlns:a14="http://schemas.microsoft.com/office/drawing/2010/main" xmlns="" id="{F00C8B15-A1F2-4819-87A0-43B4EE2A1E5B}"/>
              </a:ext>
            </a:extLst>
          </p:cNvPr>
          <p:cNvGrpSpPr/>
          <p:nvPr/>
        </p:nvGrpSpPr>
        <p:grpSpPr>
          <a:xfrm>
            <a:off x="4588452" y="1963867"/>
            <a:ext cx="3002400" cy="3002400"/>
            <a:chOff x="4595239" y="1963866"/>
            <a:chExt cx="3002400" cy="3002400"/>
          </a:xfrm>
        </p:grpSpPr>
        <p:sp>
          <p:nvSpPr>
            <p:cNvPr id="302" name="矩形 301">
              <a:extLst>
                <a:ext uri="{FF2B5EF4-FFF2-40B4-BE49-F238E27FC236}">
                  <a16:creationId xmlns:a16="http://schemas.microsoft.com/office/drawing/2014/main" xmlns:p14="http://schemas.microsoft.com/office/powerpoint/2010/main" xmlns:a14="http://schemas.microsoft.com/office/drawing/2010/main" xmlns="" id="{EB95F60D-A0A5-4CA6-84FF-3A5E2CC59F42}"/>
                </a:ext>
              </a:extLst>
            </p:cNvPr>
            <p:cNvSpPr/>
            <p:nvPr/>
          </p:nvSpPr>
          <p:spPr>
            <a:xfrm>
              <a:off x="4595239" y="196386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335" name="组合 334">
              <a:extLst>
                <a:ext uri="{FF2B5EF4-FFF2-40B4-BE49-F238E27FC236}">
                  <a16:creationId xmlns:a16="http://schemas.microsoft.com/office/drawing/2014/main" xmlns:p14="http://schemas.microsoft.com/office/powerpoint/2010/main" xmlns:a14="http://schemas.microsoft.com/office/drawing/2010/main" xmlns="" id="{CEBCA69B-D1BD-4ED3-8A2A-EB25AD703A2E}"/>
                </a:ext>
              </a:extLst>
            </p:cNvPr>
            <p:cNvGrpSpPr/>
            <p:nvPr/>
          </p:nvGrpSpPr>
          <p:grpSpPr>
            <a:xfrm>
              <a:off x="4715293" y="2404041"/>
              <a:ext cx="1638861" cy="160073"/>
              <a:chOff x="4248155" y="2141651"/>
              <a:chExt cx="1474301" cy="144000"/>
            </a:xfrm>
            <a:solidFill>
              <a:srgbClr val="E7E5EA"/>
            </a:solidFill>
          </p:grpSpPr>
          <p:sp>
            <p:nvSpPr>
              <p:cNvPr id="489" name="矩形 488">
                <a:extLst>
                  <a:ext uri="{FF2B5EF4-FFF2-40B4-BE49-F238E27FC236}">
                    <a16:creationId xmlns:a16="http://schemas.microsoft.com/office/drawing/2014/main" xmlns:p14="http://schemas.microsoft.com/office/powerpoint/2010/main" xmlns:a14="http://schemas.microsoft.com/office/drawing/2010/main" xmlns="" id="{0F78271F-C2BF-49C2-BC46-681981BE5043}"/>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0" name="矩形 489">
                <a:extLst>
                  <a:ext uri="{FF2B5EF4-FFF2-40B4-BE49-F238E27FC236}">
                    <a16:creationId xmlns:a16="http://schemas.microsoft.com/office/drawing/2014/main" xmlns:p14="http://schemas.microsoft.com/office/powerpoint/2010/main" xmlns:a14="http://schemas.microsoft.com/office/drawing/2010/main" xmlns="" id="{A3015197-78E9-42A1-B8A4-70DAA4C54124}"/>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1" name="矩形 490">
                <a:extLst>
                  <a:ext uri="{FF2B5EF4-FFF2-40B4-BE49-F238E27FC236}">
                    <a16:creationId xmlns:a16="http://schemas.microsoft.com/office/drawing/2014/main" xmlns:p14="http://schemas.microsoft.com/office/powerpoint/2010/main" xmlns:a14="http://schemas.microsoft.com/office/drawing/2010/main" xmlns="" id="{BBC16AC2-873F-45AE-B3C1-DA18A14F30AD}"/>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495" name="矩形 494">
                <a:extLst>
                  <a:ext uri="{FF2B5EF4-FFF2-40B4-BE49-F238E27FC236}">
                    <a16:creationId xmlns:a16="http://schemas.microsoft.com/office/drawing/2014/main" xmlns:p14="http://schemas.microsoft.com/office/powerpoint/2010/main" xmlns:a14="http://schemas.microsoft.com/office/drawing/2010/main" xmlns="" id="{9C5D8EE9-3878-48C8-9E66-C90EC64D4EC8}"/>
                  </a:ext>
                </a:extLst>
              </p:cNvPr>
              <p:cNvSpPr>
                <a:spLocks/>
              </p:cNvSpPr>
              <p:nvPr/>
            </p:nvSpPr>
            <p:spPr>
              <a:xfrm>
                <a:off x="5434456"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336" name="组合 335">
              <a:extLst>
                <a:ext uri="{FF2B5EF4-FFF2-40B4-BE49-F238E27FC236}">
                  <a16:creationId xmlns:a16="http://schemas.microsoft.com/office/drawing/2014/main" xmlns:p14="http://schemas.microsoft.com/office/powerpoint/2010/main" xmlns:a14="http://schemas.microsoft.com/office/drawing/2010/main" xmlns="" id="{9E841455-3E39-47E0-89F1-4A6589854638}"/>
                </a:ext>
              </a:extLst>
            </p:cNvPr>
            <p:cNvGrpSpPr/>
            <p:nvPr/>
          </p:nvGrpSpPr>
          <p:grpSpPr>
            <a:xfrm>
              <a:off x="6715511" y="2404041"/>
              <a:ext cx="761195" cy="160073"/>
              <a:chOff x="6047529" y="2141651"/>
              <a:chExt cx="684762" cy="144000"/>
            </a:xfrm>
            <a:solidFill>
              <a:srgbClr val="E7E5EA"/>
            </a:solidFill>
          </p:grpSpPr>
          <p:sp>
            <p:nvSpPr>
              <p:cNvPr id="487" name="矩形 486">
                <a:extLst>
                  <a:ext uri="{FF2B5EF4-FFF2-40B4-BE49-F238E27FC236}">
                    <a16:creationId xmlns:a16="http://schemas.microsoft.com/office/drawing/2014/main" xmlns:p14="http://schemas.microsoft.com/office/powerpoint/2010/main" xmlns:a14="http://schemas.microsoft.com/office/drawing/2010/main" xmlns="" id="{AAE592BD-4F78-41C6-A563-482A2416386F}"/>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88" name="矩形 487">
                <a:extLst>
                  <a:ext uri="{FF2B5EF4-FFF2-40B4-BE49-F238E27FC236}">
                    <a16:creationId xmlns:a16="http://schemas.microsoft.com/office/drawing/2014/main" xmlns:p14="http://schemas.microsoft.com/office/powerpoint/2010/main" xmlns:a14="http://schemas.microsoft.com/office/drawing/2010/main" xmlns="" id="{42C3DBA0-3D8A-43C4-BDE9-15381F8C0043}"/>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9" name="组合 8">
              <a:extLst>
                <a:ext uri="{FF2B5EF4-FFF2-40B4-BE49-F238E27FC236}">
                  <a16:creationId xmlns:a16="http://schemas.microsoft.com/office/drawing/2014/main" xmlns:p14="http://schemas.microsoft.com/office/powerpoint/2010/main" xmlns:a14="http://schemas.microsoft.com/office/drawing/2010/main" xmlns="" id="{5F280EC2-D63E-48C8-8C25-014D5494D2B0}"/>
                </a:ext>
              </a:extLst>
            </p:cNvPr>
            <p:cNvGrpSpPr/>
            <p:nvPr/>
          </p:nvGrpSpPr>
          <p:grpSpPr>
            <a:xfrm>
              <a:off x="4716352" y="2686508"/>
              <a:ext cx="2759294" cy="600274"/>
              <a:chOff x="8108849" y="2664061"/>
              <a:chExt cx="2482230" cy="540000"/>
            </a:xfrm>
          </p:grpSpPr>
          <p:sp>
            <p:nvSpPr>
              <p:cNvPr id="498" name="矩形: 圆角 497">
                <a:extLst>
                  <a:ext uri="{FF2B5EF4-FFF2-40B4-BE49-F238E27FC236}">
                    <a16:creationId xmlns:a16="http://schemas.microsoft.com/office/drawing/2014/main" xmlns:p14="http://schemas.microsoft.com/office/powerpoint/2010/main" xmlns:a14="http://schemas.microsoft.com/office/drawing/2010/main" xmlns="" id="{F6744093-6E81-4E08-A533-C23A9AB95163}"/>
                  </a:ext>
                </a:extLst>
              </p:cNvPr>
              <p:cNvSpPr>
                <a:spLocks/>
              </p:cNvSpPr>
              <p:nvPr/>
            </p:nvSpPr>
            <p:spPr>
              <a:xfrm>
                <a:off x="810884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01" name="矩形: 圆角 500">
                <a:extLst>
                  <a:ext uri="{FF2B5EF4-FFF2-40B4-BE49-F238E27FC236}">
                    <a16:creationId xmlns:a16="http://schemas.microsoft.com/office/drawing/2014/main" xmlns:p14="http://schemas.microsoft.com/office/powerpoint/2010/main" xmlns:a14="http://schemas.microsoft.com/office/drawing/2010/main" xmlns="" id="{5FE105D6-B3C4-4015-BA24-A34EFCD47E42}"/>
                  </a:ext>
                </a:extLst>
              </p:cNvPr>
              <p:cNvSpPr>
                <a:spLocks/>
              </p:cNvSpPr>
              <p:nvPr/>
            </p:nvSpPr>
            <p:spPr>
              <a:xfrm>
                <a:off x="875625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03" name="矩形: 圆角 502">
                <a:extLst>
                  <a:ext uri="{FF2B5EF4-FFF2-40B4-BE49-F238E27FC236}">
                    <a16:creationId xmlns:a16="http://schemas.microsoft.com/office/drawing/2014/main" xmlns:p14="http://schemas.microsoft.com/office/powerpoint/2010/main" xmlns:a14="http://schemas.microsoft.com/office/drawing/2010/main" xmlns="" id="{99C184F9-1611-4668-92FF-32794F7F049F}"/>
                  </a:ext>
                </a:extLst>
              </p:cNvPr>
              <p:cNvSpPr>
                <a:spLocks/>
              </p:cNvSpPr>
              <p:nvPr/>
            </p:nvSpPr>
            <p:spPr>
              <a:xfrm>
                <a:off x="940366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05" name="矩形: 圆角 504">
                <a:extLst>
                  <a:ext uri="{FF2B5EF4-FFF2-40B4-BE49-F238E27FC236}">
                    <a16:creationId xmlns:a16="http://schemas.microsoft.com/office/drawing/2014/main" xmlns:p14="http://schemas.microsoft.com/office/powerpoint/2010/main" xmlns:a14="http://schemas.microsoft.com/office/drawing/2010/main" xmlns="" id="{4E270696-E047-47AA-A380-F3CB89176B8B}"/>
                  </a:ext>
                </a:extLst>
              </p:cNvPr>
              <p:cNvSpPr>
                <a:spLocks/>
              </p:cNvSpPr>
              <p:nvPr/>
            </p:nvSpPr>
            <p:spPr>
              <a:xfrm>
                <a:off x="1005107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515" name="矩形: 圆角 514">
              <a:extLst>
                <a:ext uri="{FF2B5EF4-FFF2-40B4-BE49-F238E27FC236}">
                  <a16:creationId xmlns:a16="http://schemas.microsoft.com/office/drawing/2014/main" xmlns:p14="http://schemas.microsoft.com/office/powerpoint/2010/main" xmlns:a14="http://schemas.microsoft.com/office/drawing/2010/main" xmlns="" id="{C56E3699-2F3A-44D6-B8BE-97A13678B45D}"/>
                </a:ext>
              </a:extLst>
            </p:cNvPr>
            <p:cNvSpPr>
              <a:spLocks/>
            </p:cNvSpPr>
            <p:nvPr/>
          </p:nvSpPr>
          <p:spPr>
            <a:xfrm>
              <a:off x="5436026" y="3410069"/>
              <a:ext cx="600274" cy="600274"/>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1" name="组合 10">
              <a:extLst>
                <a:ext uri="{FF2B5EF4-FFF2-40B4-BE49-F238E27FC236}">
                  <a16:creationId xmlns:a16="http://schemas.microsoft.com/office/drawing/2014/main" xmlns:p14="http://schemas.microsoft.com/office/powerpoint/2010/main" xmlns:a14="http://schemas.microsoft.com/office/drawing/2010/main" xmlns="" id="{3A15B1F4-4BA4-461C-A8D5-CD76FF3AD5C8}"/>
                </a:ext>
              </a:extLst>
            </p:cNvPr>
            <p:cNvGrpSpPr/>
            <p:nvPr/>
          </p:nvGrpSpPr>
          <p:grpSpPr>
            <a:xfrm>
              <a:off x="4716352" y="3410069"/>
              <a:ext cx="2759294" cy="600274"/>
              <a:chOff x="8110911" y="3314969"/>
              <a:chExt cx="2482230" cy="540000"/>
            </a:xfrm>
          </p:grpSpPr>
          <p:sp>
            <p:nvSpPr>
              <p:cNvPr id="514" name="矩形: 圆角 513">
                <a:extLst>
                  <a:ext uri="{FF2B5EF4-FFF2-40B4-BE49-F238E27FC236}">
                    <a16:creationId xmlns:a16="http://schemas.microsoft.com/office/drawing/2014/main" xmlns:p14="http://schemas.microsoft.com/office/powerpoint/2010/main" xmlns:a14="http://schemas.microsoft.com/office/drawing/2010/main" xmlns="" id="{9CE95D13-982B-4745-85DC-7E460C919084}"/>
                  </a:ext>
                </a:extLst>
              </p:cNvPr>
              <p:cNvSpPr>
                <a:spLocks/>
              </p:cNvSpPr>
              <p:nvPr/>
            </p:nvSpPr>
            <p:spPr>
              <a:xfrm>
                <a:off x="8110911" y="3314969"/>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16" name="矩形: 圆角 515">
                <a:extLst>
                  <a:ext uri="{FF2B5EF4-FFF2-40B4-BE49-F238E27FC236}">
                    <a16:creationId xmlns:a16="http://schemas.microsoft.com/office/drawing/2014/main" xmlns:p14="http://schemas.microsoft.com/office/powerpoint/2010/main" xmlns:a14="http://schemas.microsoft.com/office/drawing/2010/main" xmlns="" id="{259A12CD-C5CF-4D63-8386-3679C4CE4E09}"/>
                  </a:ext>
                </a:extLst>
              </p:cNvPr>
              <p:cNvSpPr>
                <a:spLocks/>
              </p:cNvSpPr>
              <p:nvPr/>
            </p:nvSpPr>
            <p:spPr>
              <a:xfrm>
                <a:off x="9405731" y="3314969"/>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17" name="矩形: 圆角 516">
                <a:extLst>
                  <a:ext uri="{FF2B5EF4-FFF2-40B4-BE49-F238E27FC236}">
                    <a16:creationId xmlns:a16="http://schemas.microsoft.com/office/drawing/2014/main" xmlns:p14="http://schemas.microsoft.com/office/powerpoint/2010/main" xmlns:a14="http://schemas.microsoft.com/office/drawing/2010/main" xmlns="" id="{E3CEFF48-7A05-4510-9E38-C0DD3087D172}"/>
                  </a:ext>
                </a:extLst>
              </p:cNvPr>
              <p:cNvSpPr>
                <a:spLocks/>
              </p:cNvSpPr>
              <p:nvPr/>
            </p:nvSpPr>
            <p:spPr>
              <a:xfrm>
                <a:off x="10053141" y="3314969"/>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519" name="组合 518">
              <a:extLst>
                <a:ext uri="{FF2B5EF4-FFF2-40B4-BE49-F238E27FC236}">
                  <a16:creationId xmlns:a16="http://schemas.microsoft.com/office/drawing/2014/main" xmlns:p14="http://schemas.microsoft.com/office/powerpoint/2010/main" xmlns:a14="http://schemas.microsoft.com/office/drawing/2010/main" xmlns="" id="{E6822575-5437-42EF-9B6D-EB30AA1590CB}"/>
                </a:ext>
              </a:extLst>
            </p:cNvPr>
            <p:cNvGrpSpPr/>
            <p:nvPr/>
          </p:nvGrpSpPr>
          <p:grpSpPr>
            <a:xfrm>
              <a:off x="4716352" y="4133631"/>
              <a:ext cx="2759294" cy="600274"/>
              <a:chOff x="8108849" y="2664061"/>
              <a:chExt cx="2482230" cy="540000"/>
            </a:xfrm>
          </p:grpSpPr>
          <p:sp>
            <p:nvSpPr>
              <p:cNvPr id="520" name="矩形: 圆角 519">
                <a:extLst>
                  <a:ext uri="{FF2B5EF4-FFF2-40B4-BE49-F238E27FC236}">
                    <a16:creationId xmlns:a16="http://schemas.microsoft.com/office/drawing/2014/main" xmlns:p14="http://schemas.microsoft.com/office/powerpoint/2010/main" xmlns:a14="http://schemas.microsoft.com/office/drawing/2010/main" xmlns="" id="{190BA26F-3036-445E-9766-8D3B18851FD3}"/>
                  </a:ext>
                </a:extLst>
              </p:cNvPr>
              <p:cNvSpPr>
                <a:spLocks/>
              </p:cNvSpPr>
              <p:nvPr/>
            </p:nvSpPr>
            <p:spPr>
              <a:xfrm>
                <a:off x="810884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1" name="矩形: 圆角 520">
                <a:extLst>
                  <a:ext uri="{FF2B5EF4-FFF2-40B4-BE49-F238E27FC236}">
                    <a16:creationId xmlns:a16="http://schemas.microsoft.com/office/drawing/2014/main" xmlns:p14="http://schemas.microsoft.com/office/powerpoint/2010/main" xmlns:a14="http://schemas.microsoft.com/office/drawing/2010/main" xmlns="" id="{160EA5D8-C35C-4AF4-A9AE-3DB758D2709C}"/>
                  </a:ext>
                </a:extLst>
              </p:cNvPr>
              <p:cNvSpPr>
                <a:spLocks/>
              </p:cNvSpPr>
              <p:nvPr/>
            </p:nvSpPr>
            <p:spPr>
              <a:xfrm>
                <a:off x="875625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2" name="矩形: 圆角 521">
                <a:extLst>
                  <a:ext uri="{FF2B5EF4-FFF2-40B4-BE49-F238E27FC236}">
                    <a16:creationId xmlns:a16="http://schemas.microsoft.com/office/drawing/2014/main" xmlns:p14="http://schemas.microsoft.com/office/powerpoint/2010/main" xmlns:a14="http://schemas.microsoft.com/office/drawing/2010/main" xmlns="" id="{8E01D07F-3FCF-4EDC-9641-8C34EA5A37CE}"/>
                  </a:ext>
                </a:extLst>
              </p:cNvPr>
              <p:cNvSpPr>
                <a:spLocks/>
              </p:cNvSpPr>
              <p:nvPr/>
            </p:nvSpPr>
            <p:spPr>
              <a:xfrm>
                <a:off x="940366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3" name="矩形: 圆角 522">
                <a:extLst>
                  <a:ext uri="{FF2B5EF4-FFF2-40B4-BE49-F238E27FC236}">
                    <a16:creationId xmlns:a16="http://schemas.microsoft.com/office/drawing/2014/main" xmlns:p14="http://schemas.microsoft.com/office/powerpoint/2010/main" xmlns:a14="http://schemas.microsoft.com/office/drawing/2010/main" xmlns="" id="{4A31D2B2-0783-43E9-9854-EC8CBE4DD058}"/>
                  </a:ext>
                </a:extLst>
              </p:cNvPr>
              <p:cNvSpPr>
                <a:spLocks/>
              </p:cNvSpPr>
              <p:nvPr/>
            </p:nvSpPr>
            <p:spPr>
              <a:xfrm>
                <a:off x="1005107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635" name="Rounded Rectangle 514_1">
              <a:extLst>
                <a:ext uri="{FF2B5EF4-FFF2-40B4-BE49-F238E27FC236}">
                  <a16:creationId xmlns:a16="http://schemas.microsoft.com/office/drawing/2014/main" xmlns:p14="http://schemas.microsoft.com/office/powerpoint/2010/main" xmlns:a14="http://schemas.microsoft.com/office/drawing/2010/main" xmlns="" id="{082720E7-9CF6-446A-9968-810C366DAF86}"/>
                </a:ext>
              </a:extLst>
            </p:cNvPr>
            <p:cNvSpPr>
              <a:spLocks/>
            </p:cNvSpPr>
            <p:nvPr/>
          </p:nvSpPr>
          <p:spPr>
            <a:xfrm>
              <a:off x="5436026" y="3410069"/>
              <a:ext cx="600274" cy="600274"/>
            </a:xfrm>
            <a:prstGeom prst="roundRect">
              <a:avLst>
                <a:gd name="adj" fmla="val 4859"/>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5" name="Freeform 467">
              <a:extLst>
                <a:ext uri="{FF2B5EF4-FFF2-40B4-BE49-F238E27FC236}">
                  <a16:creationId xmlns:a16="http://schemas.microsoft.com/office/drawing/2014/main" xmlns:p14="http://schemas.microsoft.com/office/powerpoint/2010/main" xmlns:a14="http://schemas.microsoft.com/office/drawing/2010/main" xmlns="" id="{E34E1331-813D-4613-806D-EFFB8B68EBB7}"/>
                </a:ext>
              </a:extLst>
            </p:cNvPr>
            <p:cNvSpPr>
              <a:spLocks noChangeArrowheads="1"/>
            </p:cNvSpPr>
            <p:nvPr/>
          </p:nvSpPr>
          <p:spPr bwMode="auto">
            <a:xfrm>
              <a:off x="5591516" y="3578906"/>
              <a:ext cx="289295" cy="262601"/>
            </a:xfrm>
            <a:custGeom>
              <a:avLst/>
              <a:gdLst>
                <a:gd name="T0" fmla="*/ 12091 w 12800"/>
                <a:gd name="T1" fmla="*/ 0 h 11619"/>
                <a:gd name="T2" fmla="*/ 709 w 12800"/>
                <a:gd name="T3" fmla="*/ 0 h 11619"/>
                <a:gd name="T4" fmla="*/ 0 w 12800"/>
                <a:gd name="T5" fmla="*/ 708 h 11619"/>
                <a:gd name="T6" fmla="*/ 0 w 12800"/>
                <a:gd name="T7" fmla="*/ 8504 h 11619"/>
                <a:gd name="T8" fmla="*/ 709 w 12800"/>
                <a:gd name="T9" fmla="*/ 9212 h 11619"/>
                <a:gd name="T10" fmla="*/ 3860 w 12800"/>
                <a:gd name="T11" fmla="*/ 9212 h 11619"/>
                <a:gd name="T12" fmla="*/ 3860 w 12800"/>
                <a:gd name="T13" fmla="*/ 10556 h 11619"/>
                <a:gd name="T14" fmla="*/ 2131 w 12800"/>
                <a:gd name="T15" fmla="*/ 10556 h 11619"/>
                <a:gd name="T16" fmla="*/ 1600 w 12800"/>
                <a:gd name="T17" fmla="*/ 11087 h 11619"/>
                <a:gd name="T18" fmla="*/ 2131 w 12800"/>
                <a:gd name="T19" fmla="*/ 11619 h 11619"/>
                <a:gd name="T20" fmla="*/ 10669 w 12800"/>
                <a:gd name="T21" fmla="*/ 11619 h 11619"/>
                <a:gd name="T22" fmla="*/ 11200 w 12800"/>
                <a:gd name="T23" fmla="*/ 11087 h 11619"/>
                <a:gd name="T24" fmla="*/ 10669 w 12800"/>
                <a:gd name="T25" fmla="*/ 10556 h 11619"/>
                <a:gd name="T26" fmla="*/ 8941 w 12800"/>
                <a:gd name="T27" fmla="*/ 10556 h 11619"/>
                <a:gd name="T28" fmla="*/ 8941 w 12800"/>
                <a:gd name="T29" fmla="*/ 9212 h 11619"/>
                <a:gd name="T30" fmla="*/ 12091 w 12800"/>
                <a:gd name="T31" fmla="*/ 9212 h 11619"/>
                <a:gd name="T32" fmla="*/ 12800 w 12800"/>
                <a:gd name="T33" fmla="*/ 8504 h 11619"/>
                <a:gd name="T34" fmla="*/ 12800 w 12800"/>
                <a:gd name="T35" fmla="*/ 708 h 11619"/>
                <a:gd name="T36" fmla="*/ 12091 w 12800"/>
                <a:gd name="T37" fmla="*/ 0 h 11619"/>
                <a:gd name="T38" fmla="*/ 12050 w 12800"/>
                <a:gd name="T39" fmla="*/ 8462 h 11619"/>
                <a:gd name="T40" fmla="*/ 750 w 12800"/>
                <a:gd name="T41" fmla="*/ 8462 h 11619"/>
                <a:gd name="T42" fmla="*/ 750 w 12800"/>
                <a:gd name="T43" fmla="*/ 750 h 11619"/>
                <a:gd name="T44" fmla="*/ 12050 w 12800"/>
                <a:gd name="T45" fmla="*/ 750 h 11619"/>
                <a:gd name="T46" fmla="*/ 12050 w 12800"/>
                <a:gd name="T47" fmla="*/ 8462 h 11619"/>
                <a:gd name="T48" fmla="*/ 1971 w 12800"/>
                <a:gd name="T49" fmla="*/ 1948 h 11619"/>
                <a:gd name="T50" fmla="*/ 10829 w 12800"/>
                <a:gd name="T51" fmla="*/ 1948 h 11619"/>
                <a:gd name="T52" fmla="*/ 10829 w 12800"/>
                <a:gd name="T53" fmla="*/ 7263 h 11619"/>
                <a:gd name="T54" fmla="*/ 1971 w 12800"/>
                <a:gd name="T55" fmla="*/ 7263 h 11619"/>
                <a:gd name="T56" fmla="*/ 1971 w 12800"/>
                <a:gd name="T57" fmla="*/ 1948 h 1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00" h="11619">
                  <a:moveTo>
                    <a:pt x="12091" y="0"/>
                  </a:moveTo>
                  <a:lnTo>
                    <a:pt x="709" y="0"/>
                  </a:lnTo>
                  <a:cubicBezTo>
                    <a:pt x="317" y="0"/>
                    <a:pt x="0" y="317"/>
                    <a:pt x="0" y="708"/>
                  </a:cubicBezTo>
                  <a:lnTo>
                    <a:pt x="0" y="8504"/>
                  </a:lnTo>
                  <a:cubicBezTo>
                    <a:pt x="0" y="8895"/>
                    <a:pt x="317" y="9212"/>
                    <a:pt x="709" y="9212"/>
                  </a:cubicBezTo>
                  <a:lnTo>
                    <a:pt x="3860" y="9212"/>
                  </a:lnTo>
                  <a:lnTo>
                    <a:pt x="3860" y="10556"/>
                  </a:lnTo>
                  <a:lnTo>
                    <a:pt x="2131" y="10556"/>
                  </a:lnTo>
                  <a:cubicBezTo>
                    <a:pt x="1838" y="10556"/>
                    <a:pt x="1600" y="10794"/>
                    <a:pt x="1600" y="11087"/>
                  </a:cubicBezTo>
                  <a:cubicBezTo>
                    <a:pt x="1600" y="11381"/>
                    <a:pt x="1838" y="11619"/>
                    <a:pt x="2131" y="11619"/>
                  </a:cubicBezTo>
                  <a:lnTo>
                    <a:pt x="10669" y="11619"/>
                  </a:lnTo>
                  <a:cubicBezTo>
                    <a:pt x="10962" y="11619"/>
                    <a:pt x="11200" y="11381"/>
                    <a:pt x="11200" y="11087"/>
                  </a:cubicBezTo>
                  <a:cubicBezTo>
                    <a:pt x="11200" y="10794"/>
                    <a:pt x="10962" y="10556"/>
                    <a:pt x="10669" y="10556"/>
                  </a:cubicBezTo>
                  <a:lnTo>
                    <a:pt x="8941" y="10556"/>
                  </a:lnTo>
                  <a:lnTo>
                    <a:pt x="8941" y="9212"/>
                  </a:lnTo>
                  <a:lnTo>
                    <a:pt x="12091" y="9212"/>
                  </a:lnTo>
                  <a:cubicBezTo>
                    <a:pt x="12483" y="9212"/>
                    <a:pt x="12800" y="8895"/>
                    <a:pt x="12800" y="8504"/>
                  </a:cubicBezTo>
                  <a:lnTo>
                    <a:pt x="12800" y="708"/>
                  </a:lnTo>
                  <a:cubicBezTo>
                    <a:pt x="12800" y="317"/>
                    <a:pt x="12483" y="0"/>
                    <a:pt x="12091" y="0"/>
                  </a:cubicBezTo>
                  <a:close/>
                  <a:moveTo>
                    <a:pt x="12050" y="8462"/>
                  </a:moveTo>
                  <a:lnTo>
                    <a:pt x="750" y="8462"/>
                  </a:lnTo>
                  <a:lnTo>
                    <a:pt x="750" y="750"/>
                  </a:lnTo>
                  <a:lnTo>
                    <a:pt x="12050" y="750"/>
                  </a:lnTo>
                  <a:lnTo>
                    <a:pt x="12050" y="8462"/>
                  </a:lnTo>
                  <a:close/>
                  <a:moveTo>
                    <a:pt x="1971" y="1948"/>
                  </a:moveTo>
                  <a:lnTo>
                    <a:pt x="10829" y="1948"/>
                  </a:lnTo>
                  <a:lnTo>
                    <a:pt x="10829" y="7263"/>
                  </a:lnTo>
                  <a:lnTo>
                    <a:pt x="1971" y="7263"/>
                  </a:lnTo>
                  <a:lnTo>
                    <a:pt x="1971" y="1948"/>
                  </a:lnTo>
                  <a:close/>
                </a:path>
              </a:pathLst>
            </a:custGeom>
            <a:solidFill>
              <a:srgbClr val="4E4658"/>
            </a:solidFill>
            <a:ln>
              <a:noFill/>
            </a:ln>
          </p:spPr>
          <p:txBody>
            <a:bodyPr vert="horz" wrap="square" lIns="91440" tIns="45720" rIns="91440" bIns="45720" numCol="1" anchor="t" anchorCtr="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nvGrpSpPr>
            <p:cNvPr id="150" name="组合 149">
              <a:extLst>
                <a:ext uri="{FF2B5EF4-FFF2-40B4-BE49-F238E27FC236}">
                  <a16:creationId xmlns:a16="http://schemas.microsoft.com/office/drawing/2014/main" xmlns:p14="http://schemas.microsoft.com/office/powerpoint/2010/main" xmlns:a14="http://schemas.microsoft.com/office/drawing/2010/main" xmlns="" id="{BDB0E8E0-ED93-46FC-90D5-2715E779C5AC}"/>
                </a:ext>
              </a:extLst>
            </p:cNvPr>
            <p:cNvGrpSpPr/>
            <p:nvPr/>
          </p:nvGrpSpPr>
          <p:grpSpPr>
            <a:xfrm>
              <a:off x="4595239" y="1963866"/>
              <a:ext cx="3002400" cy="320240"/>
              <a:chOff x="4595239" y="1963866"/>
              <a:chExt cx="3002400" cy="320240"/>
            </a:xfrm>
          </p:grpSpPr>
          <p:grpSp>
            <p:nvGrpSpPr>
              <p:cNvPr id="151" name="组合 150">
                <a:extLst>
                  <a:ext uri="{FF2B5EF4-FFF2-40B4-BE49-F238E27FC236}">
                    <a16:creationId xmlns:a16="http://schemas.microsoft.com/office/drawing/2014/main" xmlns:p14="http://schemas.microsoft.com/office/powerpoint/2010/main" xmlns:a14="http://schemas.microsoft.com/office/drawing/2010/main" xmlns="" id="{544BF709-2458-42C5-B9FD-5C0F66BE0330}"/>
                  </a:ext>
                </a:extLst>
              </p:cNvPr>
              <p:cNvGrpSpPr/>
              <p:nvPr/>
            </p:nvGrpSpPr>
            <p:grpSpPr>
              <a:xfrm>
                <a:off x="4595239" y="1963866"/>
                <a:ext cx="3002400" cy="320240"/>
                <a:chOff x="8616223" y="1963866"/>
                <a:chExt cx="3002400" cy="320240"/>
              </a:xfrm>
            </p:grpSpPr>
            <p:sp>
              <p:nvSpPr>
                <p:cNvPr id="153" name="矩形 152">
                  <a:extLst>
                    <a:ext uri="{FF2B5EF4-FFF2-40B4-BE49-F238E27FC236}">
                      <a16:creationId xmlns:a16="http://schemas.microsoft.com/office/drawing/2014/main" xmlns:p14="http://schemas.microsoft.com/office/powerpoint/2010/main" xmlns:a14="http://schemas.microsoft.com/office/drawing/2010/main" xmlns="" id="{28BAB253-E748-40EE-BE86-7F4935434241}"/>
                    </a:ext>
                  </a:extLst>
                </p:cNvPr>
                <p:cNvSpPr/>
                <p:nvPr/>
              </p:nvSpPr>
              <p:spPr>
                <a:xfrm>
                  <a:off x="8616223" y="1963866"/>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154" name="Multiply 213">
                  <a:extLst>
                    <a:ext uri="{FF2B5EF4-FFF2-40B4-BE49-F238E27FC236}">
                      <a16:creationId xmlns:a16="http://schemas.microsoft.com/office/drawing/2014/main" xmlns:p14="http://schemas.microsoft.com/office/powerpoint/2010/main" xmlns:a14="http://schemas.microsoft.com/office/drawing/2010/main" xmlns="" id="{744B4C5B-D5F4-446A-B63A-279FB5E4FCB6}"/>
                    </a:ext>
                  </a:extLst>
                </p:cNvPr>
                <p:cNvSpPr>
                  <a:spLocks noChangeAspect="1"/>
                </p:cNvSpPr>
                <p:nvPr/>
              </p:nvSpPr>
              <p:spPr>
                <a:xfrm>
                  <a:off x="11404732" y="2067944"/>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sp>
            <p:nvSpPr>
              <p:cNvPr id="152" name="矩形 151">
                <a:extLst>
                  <a:ext uri="{FF2B5EF4-FFF2-40B4-BE49-F238E27FC236}">
                    <a16:creationId xmlns:a16="http://schemas.microsoft.com/office/drawing/2014/main" xmlns:p14="http://schemas.microsoft.com/office/powerpoint/2010/main" xmlns:a14="http://schemas.microsoft.com/office/drawing/2010/main" xmlns="" id="{6BEC8753-670B-4BDF-A3E6-445620C80C4A}"/>
                  </a:ext>
                </a:extLst>
              </p:cNvPr>
              <p:cNvSpPr/>
              <p:nvPr/>
            </p:nvSpPr>
            <p:spPr>
              <a:xfrm>
                <a:off x="4715292" y="2038873"/>
                <a:ext cx="1548011" cy="153888"/>
              </a:xfrm>
              <a:prstGeom prst="rect">
                <a:avLst/>
              </a:prstGeom>
            </p:spPr>
            <p:txBody>
              <a:bodyPr wrap="squar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r>
                  <a:rPr lang="zh-CN" altLang="en-US" sz="1000" kern="0" dirty="0">
                    <a:solidFill>
                      <a:srgbClr val="FFFFFF"/>
                    </a:solidFill>
                  </a:rPr>
                  <a:t>图标库 </a:t>
                </a:r>
                <a:r>
                  <a:rPr lang="en-US" altLang="zh-CN" sz="1000" kern="0" dirty="0">
                    <a:solidFill>
                      <a:srgbClr val="FFFFFF"/>
                    </a:solidFill>
                  </a:rPr>
                  <a:t>/ </a:t>
                </a:r>
                <a:r>
                  <a:rPr lang="en-US" altLang="zh-CN" sz="1000" kern="0">
                    <a:solidFill>
                      <a:srgbClr val="FFFFFF"/>
                    </a:solidFill>
                  </a:rPr>
                  <a:t>Icon </a:t>
                </a:r>
                <a:r>
                  <a:rPr lang="en-US" altLang="zh-CN" sz="1000" kern="0" smtClean="0">
                    <a:solidFill>
                      <a:srgbClr val="FFFFFF"/>
                    </a:solidFill>
                  </a:rPr>
                  <a:t>Lib</a:t>
                </a:r>
                <a:r>
                  <a:rPr lang="en-US" altLang="zh-CN" sz="100" kern="0" smtClean="0">
                    <a:solidFill>
                      <a:srgbClr val="FFFFFF"/>
                    </a:solidFill>
                  </a:rPr>
                  <a:t> </a:t>
                </a:r>
                <a:r>
                  <a:rPr lang="en-US" altLang="zh-CN" sz="1000" kern="0" smtClean="0">
                    <a:solidFill>
                      <a:srgbClr val="FFFFFF"/>
                    </a:solidFill>
                  </a:rPr>
                  <a:t>rary</a:t>
                </a:r>
                <a:endParaRPr lang="zh-CN" altLang="en-US" sz="1000" kern="0" dirty="0">
                  <a:solidFill>
                    <a:srgbClr val="FFFFFF"/>
                  </a:solidFill>
                </a:endParaRPr>
              </a:p>
            </p:txBody>
          </p:sp>
        </p:grpSp>
      </p:grpSp>
      <p:sp>
        <p:nvSpPr>
          <p:cNvPr id="2" name="矩形 1">
            <a:extLst>
              <a:ext uri="{FF2B5EF4-FFF2-40B4-BE49-F238E27FC236}">
                <a16:creationId xmlns:a16="http://schemas.microsoft.com/office/drawing/2014/main" xmlns:p14="http://schemas.microsoft.com/office/powerpoint/2010/main" xmlns:a14="http://schemas.microsoft.com/office/drawing/2010/main" xmlns="" id="{E0F38C24-6AB8-4A87-8935-06692C174C7B}"/>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内容。</a:t>
            </a:r>
          </a:p>
          <a:p>
            <a:pPr>
              <a:lnSpc>
                <a:spcPct val="120000"/>
              </a:lnSpc>
            </a:pPr>
            <a:r>
              <a:rPr lang="en-US" altLang="zh-CN" sz="800" dirty="0">
                <a:solidFill>
                  <a:schemeClr val="bg1"/>
                </a:solidFill>
              </a:rPr>
              <a:t>This slide is an instruction. Please delete this slide before </a:t>
            </a:r>
            <a:r>
              <a:rPr lang="en-US" altLang="zh-CN" sz="800">
                <a:solidFill>
                  <a:schemeClr val="bg1"/>
                </a:solidFill>
              </a:rPr>
              <a:t>using </a:t>
            </a:r>
            <a:r>
              <a:rPr lang="en-US" altLang="zh-CN" sz="800" smtClean="0">
                <a:solidFill>
                  <a:schemeClr val="bg1"/>
                </a:solidFill>
              </a:rPr>
              <a:t>it</a:t>
            </a:r>
            <a:r>
              <a:rPr lang="en-US" altLang="zh-CN" sz="100" smtClean="0">
                <a:solidFill>
                  <a:schemeClr val="bg1"/>
                </a:solidFill>
              </a:rPr>
              <a:t> </a:t>
            </a:r>
            <a:r>
              <a:rPr lang="en-US" altLang="zh-CN" sz="800" smtClean="0">
                <a:solidFill>
                  <a:schemeClr val="bg1"/>
                </a:solidFill>
              </a:rPr>
              <a:t> </a:t>
            </a:r>
            <a:r>
              <a:rPr lang="en-US" altLang="zh-CN" sz="800" dirty="0">
                <a:solidFill>
                  <a:schemeClr val="bg1"/>
                </a:solidFill>
              </a:rPr>
              <a:t>for presentation.</a:t>
            </a:r>
          </a:p>
        </p:txBody>
      </p:sp>
    </p:spTree>
    <p:custDataLst>
      <p:tags r:id="rId1"/>
    </p:custDataLst>
    <p:extLst>
      <p:ext uri="{BB962C8B-B14F-4D97-AF65-F5344CB8AC3E}">
        <p14:creationId xmlns:p14="http://schemas.microsoft.com/office/powerpoint/2010/main" val="256260157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xmlns:p14="http://schemas.microsoft.com/office/powerpoint/2010/main" xmlns:a14="http://schemas.microsoft.com/office/drawing/2010/main" xmlns="" id="{06500485-734D-463E-B159-B8861C906AAC}"/>
              </a:ext>
            </a:extLst>
          </p:cNvPr>
          <p:cNvGrpSpPr/>
          <p:nvPr/>
        </p:nvGrpSpPr>
        <p:grpSpPr>
          <a:xfrm>
            <a:off x="660400" y="5464436"/>
            <a:ext cx="3493913" cy="400110"/>
            <a:chOff x="673100" y="5464436"/>
            <a:chExt cx="3493913" cy="400110"/>
          </a:xfrm>
        </p:grpSpPr>
        <p:sp>
          <p:nvSpPr>
            <p:cNvPr id="351" name="文本框 350"/>
            <p:cNvSpPr txBox="1"/>
            <p:nvPr/>
          </p:nvSpPr>
          <p:spPr>
            <a:xfrm>
              <a:off x="994562" y="5464436"/>
              <a:ext cx="3172451" cy="400110"/>
            </a:xfrm>
            <a:prstGeom prst="rect">
              <a:avLst/>
            </a:prstGeom>
            <a:noFill/>
          </p:spPr>
          <p:txBody>
            <a:bodyPr wrap="square" rtlCol="0" anchor="ctr">
              <a:spAutoFit/>
            </a:bodyPr>
            <a:lstStyle/>
            <a:p>
              <a:r>
                <a:rPr lang="zh-CN" altLang="en-US" sz="1000" dirty="0">
                  <a:solidFill>
                    <a:srgbClr val="2F2F2F"/>
                  </a:solidFill>
                </a:rPr>
                <a:t>选中图示中的占位形状</a:t>
              </a:r>
              <a:endParaRPr lang="en-US" altLang="zh-CN" sz="1000" dirty="0">
                <a:solidFill>
                  <a:srgbClr val="2F2F2F"/>
                </a:solidFill>
              </a:endParaRPr>
            </a:p>
            <a:p>
              <a:r>
                <a:rPr lang="en-US" altLang="zh-CN" sz="1000" dirty="0">
                  <a:solidFill>
                    <a:srgbClr val="2F2F2F"/>
                  </a:solidFill>
                </a:rPr>
                <a:t>Select the shape that</a:t>
              </a:r>
              <a:r>
                <a:rPr lang="zh-CN" altLang="en-US" sz="1000" dirty="0">
                  <a:solidFill>
                    <a:srgbClr val="2F2F2F"/>
                  </a:solidFill>
                </a:rPr>
                <a:t> </a:t>
              </a:r>
              <a:r>
                <a:rPr lang="en-US" altLang="zh-CN" sz="1000" dirty="0">
                  <a:solidFill>
                    <a:srgbClr val="2F2F2F"/>
                  </a:solidFill>
                </a:rPr>
                <a:t>needs</a:t>
              </a:r>
              <a:r>
                <a:rPr lang="zh-CN" altLang="en-US" sz="1000" dirty="0">
                  <a:solidFill>
                    <a:srgbClr val="2F2F2F"/>
                  </a:solidFill>
                </a:rPr>
                <a:t> </a:t>
              </a:r>
              <a:r>
                <a:rPr lang="en-US" altLang="zh-CN" sz="1000" dirty="0">
                  <a:solidFill>
                    <a:srgbClr val="2F2F2F"/>
                  </a:solidFill>
                </a:rPr>
                <a:t>to</a:t>
              </a:r>
              <a:r>
                <a:rPr lang="zh-CN" altLang="en-US" sz="1000" dirty="0">
                  <a:solidFill>
                    <a:srgbClr val="2F2F2F"/>
                  </a:solidFill>
                </a:rPr>
                <a:t> </a:t>
              </a:r>
              <a:r>
                <a:rPr lang="en-US" altLang="zh-CN" sz="1000" dirty="0">
                  <a:solidFill>
                    <a:srgbClr val="2F2F2F"/>
                  </a:solidFill>
                </a:rPr>
                <a:t>be</a:t>
              </a:r>
              <a:r>
                <a:rPr lang="zh-CN" altLang="en-US" sz="1000" dirty="0">
                  <a:solidFill>
                    <a:srgbClr val="2F2F2F"/>
                  </a:solidFill>
                </a:rPr>
                <a:t> </a:t>
              </a:r>
              <a:r>
                <a:rPr lang="en-US" altLang="zh-CN" sz="1000">
                  <a:solidFill>
                    <a:srgbClr val="2F2F2F"/>
                  </a:solidFill>
                </a:rPr>
                <a:t>filled</a:t>
              </a:r>
              <a:r>
                <a:rPr lang="zh-CN" altLang="en-US" sz="1000">
                  <a:solidFill>
                    <a:srgbClr val="2F2F2F"/>
                  </a:solidFill>
                </a:rPr>
                <a:t> </a:t>
              </a:r>
              <a:r>
                <a:rPr lang="en-US" altLang="zh-CN" sz="1000" smtClean="0">
                  <a:solidFill>
                    <a:srgbClr val="2F2F2F"/>
                  </a:solidFill>
                </a:rPr>
                <a:t>w</a:t>
              </a:r>
              <a:r>
                <a:rPr lang="en-US" altLang="zh-CN" sz="100" smtClean="0">
                  <a:solidFill>
                    <a:srgbClr val="2F2F2F"/>
                  </a:solidFill>
                </a:rPr>
                <a:t> </a:t>
              </a:r>
              <a:r>
                <a:rPr lang="en-US" altLang="zh-CN" sz="1000" smtClean="0">
                  <a:solidFill>
                    <a:srgbClr val="2F2F2F"/>
                  </a:solidFill>
                </a:rPr>
                <a:t>ith</a:t>
              </a:r>
              <a:r>
                <a:rPr lang="zh-CN" altLang="en-US" sz="1000" smtClean="0">
                  <a:solidFill>
                    <a:srgbClr val="2F2F2F"/>
                  </a:solidFill>
                </a:rPr>
                <a:t> </a:t>
              </a:r>
              <a:r>
                <a:rPr lang="en-US" altLang="zh-CN" sz="1000" dirty="0">
                  <a:solidFill>
                    <a:srgbClr val="2F2F2F"/>
                  </a:solidFill>
                </a:rPr>
                <a:t>picture</a:t>
              </a:r>
              <a:endParaRPr lang="zh-CN" altLang="en-US" sz="1000" dirty="0">
                <a:solidFill>
                  <a:srgbClr val="2F2F2F"/>
                </a:solidFill>
              </a:endParaRPr>
            </a:p>
          </p:txBody>
        </p:sp>
        <p:sp>
          <p:nvSpPr>
            <p:cNvPr id="350" name="椭圆 349"/>
            <p:cNvSpPr/>
            <p:nvPr/>
          </p:nvSpPr>
          <p:spPr>
            <a:xfrm>
              <a:off x="673100"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grpSp>
      <p:sp>
        <p:nvSpPr>
          <p:cNvPr id="890" name="Right Arrow 16">
            <a:extLst>
              <a:ext uri="{FF2B5EF4-FFF2-40B4-BE49-F238E27FC236}">
                <a16:creationId xmlns:a16="http://schemas.microsoft.com/office/drawing/2014/main" xmlns:p14="http://schemas.microsoft.com/office/powerpoint/2010/main" xmlns:a14="http://schemas.microsoft.com/office/drawing/2010/main" xmlns="" id="{C18997BC-8A46-4480-BDE2-8A42CE9D6E96}"/>
              </a:ext>
            </a:extLst>
          </p:cNvPr>
          <p:cNvSpPr/>
          <p:nvPr/>
        </p:nvSpPr>
        <p:spPr>
          <a:xfrm>
            <a:off x="4284308"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19" name="组合 18">
            <a:extLst>
              <a:ext uri="{FF2B5EF4-FFF2-40B4-BE49-F238E27FC236}">
                <a16:creationId xmlns:a16="http://schemas.microsoft.com/office/drawing/2014/main" xmlns:p14="http://schemas.microsoft.com/office/powerpoint/2010/main" xmlns:a14="http://schemas.microsoft.com/office/drawing/2010/main" xmlns="" id="{3DADE2E2-462A-4DAB-9FCF-67CBE7BC402C}"/>
              </a:ext>
            </a:extLst>
          </p:cNvPr>
          <p:cNvGrpSpPr/>
          <p:nvPr/>
        </p:nvGrpSpPr>
        <p:grpSpPr>
          <a:xfrm>
            <a:off x="4588450" y="1963867"/>
            <a:ext cx="3002400" cy="3200416"/>
            <a:chOff x="4595239" y="1963866"/>
            <a:chExt cx="3002400" cy="3200416"/>
          </a:xfrm>
        </p:grpSpPr>
        <p:sp>
          <p:nvSpPr>
            <p:cNvPr id="302" name="矩形 301">
              <a:extLst>
                <a:ext uri="{FF2B5EF4-FFF2-40B4-BE49-F238E27FC236}">
                  <a16:creationId xmlns:a16="http://schemas.microsoft.com/office/drawing/2014/main" xmlns:p14="http://schemas.microsoft.com/office/powerpoint/2010/main" xmlns:a14="http://schemas.microsoft.com/office/drawing/2010/main" xmlns="" id="{EB95F60D-A0A5-4CA6-84FF-3A5E2CC59F42}"/>
                </a:ext>
              </a:extLst>
            </p:cNvPr>
            <p:cNvSpPr/>
            <p:nvPr/>
          </p:nvSpPr>
          <p:spPr>
            <a:xfrm>
              <a:off x="4595239" y="196386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53" name="组合 152">
              <a:extLst>
                <a:ext uri="{FF2B5EF4-FFF2-40B4-BE49-F238E27FC236}">
                  <a16:creationId xmlns:a16="http://schemas.microsoft.com/office/drawing/2014/main" xmlns:p14="http://schemas.microsoft.com/office/powerpoint/2010/main" xmlns:a14="http://schemas.microsoft.com/office/drawing/2010/main" xmlns="" id="{A63C04F4-C358-4500-9952-9EF5BBBE121E}"/>
                </a:ext>
              </a:extLst>
            </p:cNvPr>
            <p:cNvGrpSpPr/>
            <p:nvPr/>
          </p:nvGrpSpPr>
          <p:grpSpPr>
            <a:xfrm>
              <a:off x="4706067" y="2686508"/>
              <a:ext cx="2780745" cy="2477774"/>
              <a:chOff x="5543523" y="3950927"/>
              <a:chExt cx="2485245" cy="2214470"/>
            </a:xfrm>
            <a:solidFill>
              <a:srgbClr val="E7E5EA"/>
            </a:solidFill>
          </p:grpSpPr>
          <p:sp>
            <p:nvSpPr>
              <p:cNvPr id="154" name="矩形: 圆角 153">
                <a:extLst>
                  <a:ext uri="{FF2B5EF4-FFF2-40B4-BE49-F238E27FC236}">
                    <a16:creationId xmlns:a16="http://schemas.microsoft.com/office/drawing/2014/main" xmlns:p14="http://schemas.microsoft.com/office/powerpoint/2010/main" xmlns:a14="http://schemas.microsoft.com/office/drawing/2010/main" xmlns="" id="{F6ABABC0-F43F-4F7C-A81E-B32B79EAE147}"/>
                  </a:ext>
                </a:extLst>
              </p:cNvPr>
              <p:cNvSpPr>
                <a:spLocks noChangeAspect="1"/>
              </p:cNvSpPr>
              <p:nvPr/>
            </p:nvSpPr>
            <p:spPr>
              <a:xfrm>
                <a:off x="5543523" y="3950927"/>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5" name="矩形: 圆角 154">
                <a:extLst>
                  <a:ext uri="{FF2B5EF4-FFF2-40B4-BE49-F238E27FC236}">
                    <a16:creationId xmlns:a16="http://schemas.microsoft.com/office/drawing/2014/main" xmlns:p14="http://schemas.microsoft.com/office/powerpoint/2010/main" xmlns:a14="http://schemas.microsoft.com/office/drawing/2010/main" xmlns="" id="{EF1FB13C-2546-480B-A3F8-637DD57A2E9A}"/>
                  </a:ext>
                </a:extLst>
              </p:cNvPr>
              <p:cNvSpPr>
                <a:spLocks noChangeAspect="1"/>
              </p:cNvSpPr>
              <p:nvPr/>
            </p:nvSpPr>
            <p:spPr>
              <a:xfrm>
                <a:off x="5543523" y="4723706"/>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6" name="矩形: 圆角 155">
                <a:extLst>
                  <a:ext uri="{FF2B5EF4-FFF2-40B4-BE49-F238E27FC236}">
                    <a16:creationId xmlns:a16="http://schemas.microsoft.com/office/drawing/2014/main" xmlns:p14="http://schemas.microsoft.com/office/powerpoint/2010/main" xmlns:a14="http://schemas.microsoft.com/office/drawing/2010/main" xmlns="" id="{BC5AD51A-7A84-49B0-B8D0-BFC3CEC38872}"/>
                  </a:ext>
                </a:extLst>
              </p:cNvPr>
              <p:cNvSpPr>
                <a:spLocks noChangeAspect="1"/>
              </p:cNvSpPr>
              <p:nvPr/>
            </p:nvSpPr>
            <p:spPr>
              <a:xfrm>
                <a:off x="5543523"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7" name="矩形: 圆角 156">
                <a:extLst>
                  <a:ext uri="{FF2B5EF4-FFF2-40B4-BE49-F238E27FC236}">
                    <a16:creationId xmlns:a16="http://schemas.microsoft.com/office/drawing/2014/main" xmlns:p14="http://schemas.microsoft.com/office/powerpoint/2010/main" xmlns:a14="http://schemas.microsoft.com/office/drawing/2010/main" xmlns="" id="{20717845-5E08-43BB-B73D-0D6866386EE2}"/>
                  </a:ext>
                </a:extLst>
              </p:cNvPr>
              <p:cNvSpPr>
                <a:spLocks noChangeAspect="1"/>
              </p:cNvSpPr>
              <p:nvPr/>
            </p:nvSpPr>
            <p:spPr>
              <a:xfrm>
                <a:off x="6839591"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8" name="矩形: 圆角 157">
                <a:extLst>
                  <a:ext uri="{FF2B5EF4-FFF2-40B4-BE49-F238E27FC236}">
                    <a16:creationId xmlns:a16="http://schemas.microsoft.com/office/drawing/2014/main" xmlns:p14="http://schemas.microsoft.com/office/powerpoint/2010/main" xmlns:a14="http://schemas.microsoft.com/office/drawing/2010/main" xmlns="" id="{04273410-3874-4C71-9C4E-4D25FA658C6F}"/>
                  </a:ext>
                </a:extLst>
              </p:cNvPr>
              <p:cNvSpPr>
                <a:spLocks noChangeAspect="1"/>
              </p:cNvSpPr>
              <p:nvPr/>
            </p:nvSpPr>
            <p:spPr>
              <a:xfrm>
                <a:off x="6839591" y="4723706"/>
                <a:ext cx="1189177" cy="668912"/>
              </a:xfrm>
              <a:prstGeom prst="roundRect">
                <a:avLst>
                  <a:gd name="adj" fmla="val 4418"/>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9" name="矩形: 圆角 158">
                <a:extLst>
                  <a:ext uri="{FF2B5EF4-FFF2-40B4-BE49-F238E27FC236}">
                    <a16:creationId xmlns:a16="http://schemas.microsoft.com/office/drawing/2014/main" xmlns:p14="http://schemas.microsoft.com/office/powerpoint/2010/main" xmlns:a14="http://schemas.microsoft.com/office/drawing/2010/main" xmlns="" id="{30E424DF-74BE-442A-AAB5-9F114C1494C8}"/>
                  </a:ext>
                </a:extLst>
              </p:cNvPr>
              <p:cNvSpPr>
                <a:spLocks noChangeAspect="1"/>
              </p:cNvSpPr>
              <p:nvPr/>
            </p:nvSpPr>
            <p:spPr>
              <a:xfrm>
                <a:off x="6839591" y="3950927"/>
                <a:ext cx="1189177" cy="668912"/>
              </a:xfrm>
              <a:prstGeom prst="roundRect">
                <a:avLst>
                  <a:gd name="adj" fmla="val 4418"/>
                </a:avLst>
              </a:prstGeom>
              <a:blipFill>
                <a:blip r:embed="rId3"/>
                <a:srcRect/>
                <a:stretch>
                  <a:fillRect t="-153" b="-153"/>
                </a:stretch>
              </a:blipFill>
              <a:ln w="3175">
                <a:noFill/>
                <a:prstDash val="solid"/>
                <a:miter lim="800000"/>
                <a:headEnd/>
                <a:tailEn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354"/>
                <a:endParaRPr lang="zh-CN" altLang="en-US" kern="0">
                  <a:solidFill>
                    <a:srgbClr val="44546A">
                      <a:lumMod val="60000"/>
                      <a:lumOff val="40000"/>
                    </a:srgbClr>
                  </a:solidFill>
                </a:endParaRPr>
              </a:p>
            </p:txBody>
          </p:sp>
          <p:sp>
            <p:nvSpPr>
              <p:cNvPr id="160" name="矩形: 圆角 159">
                <a:extLst>
                  <a:ext uri="{FF2B5EF4-FFF2-40B4-BE49-F238E27FC236}">
                    <a16:creationId xmlns:a16="http://schemas.microsoft.com/office/drawing/2014/main" xmlns:p14="http://schemas.microsoft.com/office/powerpoint/2010/main" xmlns:a14="http://schemas.microsoft.com/office/drawing/2010/main" xmlns="" id="{4491213B-312B-4965-A8AF-91558B9C4872}"/>
                  </a:ext>
                </a:extLst>
              </p:cNvPr>
              <p:cNvSpPr>
                <a:spLocks noChangeAspect="1"/>
              </p:cNvSpPr>
              <p:nvPr/>
            </p:nvSpPr>
            <p:spPr>
              <a:xfrm>
                <a:off x="6839591" y="3950927"/>
                <a:ext cx="1189177" cy="668912"/>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6" name="组合 15">
              <a:extLst>
                <a:ext uri="{FF2B5EF4-FFF2-40B4-BE49-F238E27FC236}">
                  <a16:creationId xmlns:a16="http://schemas.microsoft.com/office/drawing/2014/main" xmlns:p14="http://schemas.microsoft.com/office/powerpoint/2010/main" xmlns:a14="http://schemas.microsoft.com/office/drawing/2010/main" xmlns="" id="{33AD0B02-1124-4118-881C-CF0D5138955B}"/>
                </a:ext>
              </a:extLst>
            </p:cNvPr>
            <p:cNvGrpSpPr/>
            <p:nvPr/>
          </p:nvGrpSpPr>
          <p:grpSpPr>
            <a:xfrm>
              <a:off x="4595239" y="1963866"/>
              <a:ext cx="3002400" cy="320240"/>
              <a:chOff x="4595239" y="1963866"/>
              <a:chExt cx="3002400" cy="320240"/>
            </a:xfrm>
          </p:grpSpPr>
          <p:grpSp>
            <p:nvGrpSpPr>
              <p:cNvPr id="5" name="组合 4">
                <a:extLst>
                  <a:ext uri="{FF2B5EF4-FFF2-40B4-BE49-F238E27FC236}">
                    <a16:creationId xmlns:a16="http://schemas.microsoft.com/office/drawing/2014/main" xmlns:p14="http://schemas.microsoft.com/office/powerpoint/2010/main" xmlns:a14="http://schemas.microsoft.com/office/drawing/2010/main" xmlns="" id="{6771DD05-1958-4BBA-A29F-081CA2709801}"/>
                  </a:ext>
                </a:extLst>
              </p:cNvPr>
              <p:cNvGrpSpPr/>
              <p:nvPr/>
            </p:nvGrpSpPr>
            <p:grpSpPr>
              <a:xfrm>
                <a:off x="4595239" y="1963866"/>
                <a:ext cx="3002400" cy="320240"/>
                <a:chOff x="8616223" y="1963866"/>
                <a:chExt cx="3002400" cy="320240"/>
              </a:xfrm>
            </p:grpSpPr>
            <p:sp>
              <p:nvSpPr>
                <p:cNvPr id="304" name="矩形 303">
                  <a:extLst>
                    <a:ext uri="{FF2B5EF4-FFF2-40B4-BE49-F238E27FC236}">
                      <a16:creationId xmlns:a16="http://schemas.microsoft.com/office/drawing/2014/main" xmlns:p14="http://schemas.microsoft.com/office/powerpoint/2010/main" xmlns:a14="http://schemas.microsoft.com/office/drawing/2010/main" xmlns="" id="{7398D68E-9E0E-4C67-8760-46BFB1A0317C}"/>
                    </a:ext>
                  </a:extLst>
                </p:cNvPr>
                <p:cNvSpPr/>
                <p:nvPr/>
              </p:nvSpPr>
              <p:spPr>
                <a:xfrm>
                  <a:off x="8616223" y="1963866"/>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306" name="Multiply 213">
                  <a:extLst>
                    <a:ext uri="{FF2B5EF4-FFF2-40B4-BE49-F238E27FC236}">
                      <a16:creationId xmlns:a16="http://schemas.microsoft.com/office/drawing/2014/main" xmlns:p14="http://schemas.microsoft.com/office/powerpoint/2010/main" xmlns:a14="http://schemas.microsoft.com/office/drawing/2010/main" xmlns="" id="{43E705A9-8DE1-4719-A1A7-37B0C64B2F5A}"/>
                    </a:ext>
                  </a:extLst>
                </p:cNvPr>
                <p:cNvSpPr>
                  <a:spLocks noChangeAspect="1"/>
                </p:cNvSpPr>
                <p:nvPr/>
              </p:nvSpPr>
              <p:spPr>
                <a:xfrm>
                  <a:off x="11404732" y="2067944"/>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sp>
            <p:nvSpPr>
              <p:cNvPr id="332" name="矩形 331">
                <a:extLst>
                  <a:ext uri="{FF2B5EF4-FFF2-40B4-BE49-F238E27FC236}">
                    <a16:creationId xmlns:a16="http://schemas.microsoft.com/office/drawing/2014/main" xmlns:p14="http://schemas.microsoft.com/office/powerpoint/2010/main" xmlns:a14="http://schemas.microsoft.com/office/drawing/2010/main" xmlns="" id="{45B452B5-600E-402C-A6E0-97D72A78CA3F}"/>
                  </a:ext>
                </a:extLst>
              </p:cNvPr>
              <p:cNvSpPr/>
              <p:nvPr/>
            </p:nvSpPr>
            <p:spPr>
              <a:xfrm>
                <a:off x="4715292" y="2038873"/>
                <a:ext cx="1548011" cy="153888"/>
              </a:xfrm>
              <a:prstGeom prst="rect">
                <a:avLst/>
              </a:prstGeom>
            </p:spPr>
            <p:txBody>
              <a:bodyPr wrap="squar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r>
                  <a:rPr lang="zh-CN" altLang="en-US" sz="1000" kern="0" dirty="0">
                    <a:solidFill>
                      <a:srgbClr val="FFFFFF"/>
                    </a:solidFill>
                  </a:rPr>
                  <a:t>图片库 </a:t>
                </a:r>
                <a:r>
                  <a:rPr lang="en-US" altLang="zh-CN" sz="1000" kern="0" dirty="0">
                    <a:solidFill>
                      <a:srgbClr val="FFFFFF"/>
                    </a:solidFill>
                  </a:rPr>
                  <a:t>/ </a:t>
                </a:r>
                <a:r>
                  <a:rPr lang="en-US" altLang="zh-CN" sz="1000" kern="0">
                    <a:solidFill>
                      <a:srgbClr val="FFFFFF"/>
                    </a:solidFill>
                  </a:rPr>
                  <a:t>Picture </a:t>
                </a:r>
                <a:r>
                  <a:rPr lang="en-US" altLang="zh-CN" sz="1000" kern="0" smtClean="0">
                    <a:solidFill>
                      <a:srgbClr val="FFFFFF"/>
                    </a:solidFill>
                  </a:rPr>
                  <a:t>Lib</a:t>
                </a:r>
                <a:r>
                  <a:rPr lang="en-US" altLang="zh-CN" sz="100" kern="0" smtClean="0">
                    <a:solidFill>
                      <a:srgbClr val="FFFFFF"/>
                    </a:solidFill>
                  </a:rPr>
                  <a:t> </a:t>
                </a:r>
                <a:r>
                  <a:rPr lang="en-US" altLang="zh-CN" sz="1000" kern="0" smtClean="0">
                    <a:solidFill>
                      <a:srgbClr val="FFFFFF"/>
                    </a:solidFill>
                  </a:rPr>
                  <a:t>rary</a:t>
                </a:r>
                <a:endParaRPr lang="zh-CN" altLang="en-US" sz="1000" kern="0" dirty="0">
                  <a:solidFill>
                    <a:srgbClr val="FFFFFF"/>
                  </a:solidFill>
                </a:endParaRPr>
              </a:p>
            </p:txBody>
          </p:sp>
        </p:grpSp>
        <p:grpSp>
          <p:nvGrpSpPr>
            <p:cNvPr id="335" name="组合 334">
              <a:extLst>
                <a:ext uri="{FF2B5EF4-FFF2-40B4-BE49-F238E27FC236}">
                  <a16:creationId xmlns:a16="http://schemas.microsoft.com/office/drawing/2014/main" xmlns:p14="http://schemas.microsoft.com/office/powerpoint/2010/main" xmlns:a14="http://schemas.microsoft.com/office/drawing/2010/main" xmlns="" id="{CEBCA69B-D1BD-4ED3-8A2A-EB25AD703A2E}"/>
                </a:ext>
              </a:extLst>
            </p:cNvPr>
            <p:cNvGrpSpPr/>
            <p:nvPr/>
          </p:nvGrpSpPr>
          <p:grpSpPr>
            <a:xfrm>
              <a:off x="4715293" y="2404041"/>
              <a:ext cx="1638861" cy="160073"/>
              <a:chOff x="4248155" y="2141651"/>
              <a:chExt cx="1474301" cy="144000"/>
            </a:xfrm>
            <a:solidFill>
              <a:srgbClr val="E7E5EA"/>
            </a:solidFill>
          </p:grpSpPr>
          <p:sp>
            <p:nvSpPr>
              <p:cNvPr id="489" name="矩形 488">
                <a:extLst>
                  <a:ext uri="{FF2B5EF4-FFF2-40B4-BE49-F238E27FC236}">
                    <a16:creationId xmlns:a16="http://schemas.microsoft.com/office/drawing/2014/main" xmlns:p14="http://schemas.microsoft.com/office/powerpoint/2010/main" xmlns:a14="http://schemas.microsoft.com/office/drawing/2010/main" xmlns="" id="{0F78271F-C2BF-49C2-BC46-681981BE5043}"/>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0" name="矩形 489">
                <a:extLst>
                  <a:ext uri="{FF2B5EF4-FFF2-40B4-BE49-F238E27FC236}">
                    <a16:creationId xmlns:a16="http://schemas.microsoft.com/office/drawing/2014/main" xmlns:p14="http://schemas.microsoft.com/office/powerpoint/2010/main" xmlns:a14="http://schemas.microsoft.com/office/drawing/2010/main" xmlns="" id="{A3015197-78E9-42A1-B8A4-70DAA4C54124}"/>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1" name="矩形 490">
                <a:extLst>
                  <a:ext uri="{FF2B5EF4-FFF2-40B4-BE49-F238E27FC236}">
                    <a16:creationId xmlns:a16="http://schemas.microsoft.com/office/drawing/2014/main" xmlns:p14="http://schemas.microsoft.com/office/powerpoint/2010/main" xmlns:a14="http://schemas.microsoft.com/office/drawing/2010/main" xmlns="" id="{BBC16AC2-873F-45AE-B3C1-DA18A14F30AD}"/>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495" name="矩形 494">
                <a:extLst>
                  <a:ext uri="{FF2B5EF4-FFF2-40B4-BE49-F238E27FC236}">
                    <a16:creationId xmlns:a16="http://schemas.microsoft.com/office/drawing/2014/main" xmlns:p14="http://schemas.microsoft.com/office/powerpoint/2010/main" xmlns:a14="http://schemas.microsoft.com/office/drawing/2010/main" xmlns="" id="{9C5D8EE9-3878-48C8-9E66-C90EC64D4EC8}"/>
                  </a:ext>
                </a:extLst>
              </p:cNvPr>
              <p:cNvSpPr>
                <a:spLocks/>
              </p:cNvSpPr>
              <p:nvPr/>
            </p:nvSpPr>
            <p:spPr>
              <a:xfrm>
                <a:off x="5434456"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336" name="组合 335">
              <a:extLst>
                <a:ext uri="{FF2B5EF4-FFF2-40B4-BE49-F238E27FC236}">
                  <a16:creationId xmlns:a16="http://schemas.microsoft.com/office/drawing/2014/main" xmlns:p14="http://schemas.microsoft.com/office/powerpoint/2010/main" xmlns:a14="http://schemas.microsoft.com/office/drawing/2010/main" xmlns="" id="{9E841455-3E39-47E0-89F1-4A6589854638}"/>
                </a:ext>
              </a:extLst>
            </p:cNvPr>
            <p:cNvGrpSpPr/>
            <p:nvPr/>
          </p:nvGrpSpPr>
          <p:grpSpPr>
            <a:xfrm>
              <a:off x="6715511" y="2404041"/>
              <a:ext cx="761195" cy="160073"/>
              <a:chOff x="6047529" y="2141651"/>
              <a:chExt cx="684762" cy="144000"/>
            </a:xfrm>
            <a:solidFill>
              <a:srgbClr val="E7E5EA"/>
            </a:solidFill>
          </p:grpSpPr>
          <p:sp>
            <p:nvSpPr>
              <p:cNvPr id="487" name="矩形 486">
                <a:extLst>
                  <a:ext uri="{FF2B5EF4-FFF2-40B4-BE49-F238E27FC236}">
                    <a16:creationId xmlns:a16="http://schemas.microsoft.com/office/drawing/2014/main" xmlns:p14="http://schemas.microsoft.com/office/powerpoint/2010/main" xmlns:a14="http://schemas.microsoft.com/office/drawing/2010/main" xmlns="" id="{AAE592BD-4F78-41C6-A563-482A2416386F}"/>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88" name="矩形 487">
                <a:extLst>
                  <a:ext uri="{FF2B5EF4-FFF2-40B4-BE49-F238E27FC236}">
                    <a16:creationId xmlns:a16="http://schemas.microsoft.com/office/drawing/2014/main" xmlns:p14="http://schemas.microsoft.com/office/powerpoint/2010/main" xmlns:a14="http://schemas.microsoft.com/office/drawing/2010/main" xmlns="" id="{42C3DBA0-3D8A-43C4-BDE9-15381F8C0043}"/>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sp>
        <p:nvSpPr>
          <p:cNvPr id="613" name="文本框 612">
            <a:extLst>
              <a:ext uri="{FF2B5EF4-FFF2-40B4-BE49-F238E27FC236}">
                <a16:creationId xmlns:a16="http://schemas.microsoft.com/office/drawing/2014/main" xmlns:p14="http://schemas.microsoft.com/office/powerpoint/2010/main" xmlns:a14="http://schemas.microsoft.com/office/drawing/2010/main" xmlns="" id="{8AD2200D-CA44-4767-84EF-C1856654B4FA}"/>
              </a:ext>
            </a:extLst>
          </p:cNvPr>
          <p:cNvSpPr txBox="1"/>
          <p:nvPr/>
        </p:nvSpPr>
        <p:spPr>
          <a:xfrm>
            <a:off x="4916703" y="5387482"/>
            <a:ext cx="2558947" cy="553998"/>
          </a:xfrm>
          <a:prstGeom prst="rect">
            <a:avLst/>
          </a:prstGeom>
          <a:noFill/>
        </p:spPr>
        <p:txBody>
          <a:bodyPr wrap="square" rtlCol="0" anchor="ctr">
            <a:spAutoFit/>
          </a:bodyPr>
          <a:lstStyle/>
          <a:p>
            <a:r>
              <a:rPr lang="zh-CN" altLang="en-US" sz="1000" dirty="0">
                <a:solidFill>
                  <a:srgbClr val="2F2F2F"/>
                </a:solidFill>
              </a:rPr>
              <a:t>点击 </a:t>
            </a:r>
            <a:r>
              <a:rPr lang="en-US" altLang="zh-CN" sz="1000" dirty="0" err="1">
                <a:solidFill>
                  <a:srgbClr val="2F2F2F"/>
                </a:solidFill>
              </a:rPr>
              <a:t>iSlide</a:t>
            </a:r>
            <a:r>
              <a:rPr lang="en-US" altLang="zh-CN" sz="1000" dirty="0">
                <a:solidFill>
                  <a:srgbClr val="2F2F2F"/>
                </a:solidFill>
              </a:rPr>
              <a:t>【</a:t>
            </a:r>
            <a:r>
              <a:rPr lang="zh-CN" altLang="en-US" sz="1000" dirty="0">
                <a:solidFill>
                  <a:srgbClr val="2F2F2F"/>
                </a:solidFill>
              </a:rPr>
              <a:t>图片库</a:t>
            </a:r>
            <a:r>
              <a:rPr lang="en-US" altLang="zh-CN" sz="1000" dirty="0">
                <a:solidFill>
                  <a:srgbClr val="2F2F2F"/>
                </a:solidFill>
              </a:rPr>
              <a:t>】</a:t>
            </a:r>
            <a:r>
              <a:rPr lang="zh-CN" altLang="en-US" sz="1000" dirty="0">
                <a:solidFill>
                  <a:srgbClr val="2F2F2F"/>
                </a:solidFill>
              </a:rPr>
              <a:t>中的图片替换</a:t>
            </a:r>
            <a:endParaRPr lang="en-US" altLang="zh-CN" sz="1000" dirty="0">
              <a:solidFill>
                <a:srgbClr val="2F2F2F"/>
              </a:solidFill>
            </a:endParaRPr>
          </a:p>
          <a:p>
            <a:r>
              <a:rPr lang="en-US" altLang="zh-CN" sz="1000" dirty="0">
                <a:solidFill>
                  <a:srgbClr val="2F2F2F"/>
                </a:solidFill>
              </a:rPr>
              <a:t>Click the target picture in iSlide “Picture Library” to </a:t>
            </a:r>
            <a:r>
              <a:rPr lang="en-US" altLang="zh-CN" sz="1000">
                <a:solidFill>
                  <a:srgbClr val="2F2F2F"/>
                </a:solidFill>
              </a:rPr>
              <a:t>insert </a:t>
            </a:r>
            <a:r>
              <a:rPr lang="en-US" altLang="zh-CN" sz="1000" smtClean="0">
                <a:solidFill>
                  <a:srgbClr val="2F2F2F"/>
                </a:solidFill>
              </a:rPr>
              <a:t>i</a:t>
            </a:r>
            <a:r>
              <a:rPr lang="en-US" altLang="zh-CN" sz="100" smtClean="0">
                <a:solidFill>
                  <a:srgbClr val="2F2F2F"/>
                </a:solidFill>
              </a:rPr>
              <a:t> </a:t>
            </a:r>
            <a:r>
              <a:rPr lang="en-US" altLang="zh-CN" sz="1000" smtClean="0">
                <a:solidFill>
                  <a:srgbClr val="2F2F2F"/>
                </a:solidFill>
              </a:rPr>
              <a:t>t </a:t>
            </a:r>
            <a:r>
              <a:rPr lang="en-US" altLang="zh-CN" sz="1000" dirty="0">
                <a:solidFill>
                  <a:srgbClr val="2F2F2F"/>
                </a:solidFill>
              </a:rPr>
              <a:t>into the shape</a:t>
            </a:r>
            <a:endParaRPr lang="zh-CN" altLang="en-US" sz="1000" dirty="0">
              <a:solidFill>
                <a:srgbClr val="2F2F2F"/>
              </a:solidFill>
            </a:endParaRPr>
          </a:p>
        </p:txBody>
      </p:sp>
      <p:sp>
        <p:nvSpPr>
          <p:cNvPr id="614" name="椭圆 613">
            <a:extLst>
              <a:ext uri="{FF2B5EF4-FFF2-40B4-BE49-F238E27FC236}">
                <a16:creationId xmlns:a16="http://schemas.microsoft.com/office/drawing/2014/main" xmlns:p14="http://schemas.microsoft.com/office/powerpoint/2010/main" xmlns:a14="http://schemas.microsoft.com/office/drawing/2010/main" xmlns="" id="{0EF98DBB-FD28-4F75-8C30-91D37F4F411F}"/>
              </a:ext>
            </a:extLst>
          </p:cNvPr>
          <p:cNvSpPr/>
          <p:nvPr/>
        </p:nvSpPr>
        <p:spPr>
          <a:xfrm>
            <a:off x="4595244"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sp>
        <p:nvSpPr>
          <p:cNvPr id="891" name="Right Arrow 751">
            <a:extLst>
              <a:ext uri="{FF2B5EF4-FFF2-40B4-BE49-F238E27FC236}">
                <a16:creationId xmlns:a16="http://schemas.microsoft.com/office/drawing/2014/main" xmlns:p14="http://schemas.microsoft.com/office/powerpoint/2010/main" xmlns:a14="http://schemas.microsoft.com/office/drawing/2010/main" xmlns="" id="{262E38B2-0226-44BA-9105-CB532FA15FCA}"/>
              </a:ext>
            </a:extLst>
          </p:cNvPr>
          <p:cNvSpPr/>
          <p:nvPr/>
        </p:nvSpPr>
        <p:spPr>
          <a:xfrm>
            <a:off x="7720845"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53" name="文本框 752">
            <a:extLst>
              <a:ext uri="{FF2B5EF4-FFF2-40B4-BE49-F238E27FC236}">
                <a16:creationId xmlns:a16="http://schemas.microsoft.com/office/drawing/2014/main" xmlns:p14="http://schemas.microsoft.com/office/powerpoint/2010/main" xmlns:a14="http://schemas.microsoft.com/office/drawing/2010/main" xmlns="" id="{64E2827D-DD54-493E-8009-F97E8BD7C996}"/>
              </a:ext>
            </a:extLst>
          </p:cNvPr>
          <p:cNvSpPr txBox="1"/>
          <p:nvPr/>
        </p:nvSpPr>
        <p:spPr>
          <a:xfrm>
            <a:off x="8346455" y="5387493"/>
            <a:ext cx="3174039" cy="553998"/>
          </a:xfrm>
          <a:prstGeom prst="rect">
            <a:avLst/>
          </a:prstGeom>
          <a:noFill/>
        </p:spPr>
        <p:txBody>
          <a:bodyPr wrap="square" rtlCol="0" anchor="ctr">
            <a:spAutoFit/>
          </a:bodyPr>
          <a:lstStyle/>
          <a:p>
            <a:r>
              <a:rPr lang="zh-CN" altLang="en-US" sz="1000" dirty="0">
                <a:solidFill>
                  <a:srgbClr val="2F2F2F"/>
                </a:solidFill>
              </a:rPr>
              <a:t>自动填充，图片保持比例不变</a:t>
            </a:r>
            <a:endParaRPr lang="en-US" altLang="zh-CN" sz="1000" dirty="0">
              <a:solidFill>
                <a:srgbClr val="2F2F2F"/>
              </a:solidFill>
            </a:endParaRPr>
          </a:p>
          <a:p>
            <a:r>
              <a:rPr lang="en-US" altLang="zh-CN" sz="1000" dirty="0">
                <a:solidFill>
                  <a:srgbClr val="2F2F2F"/>
                </a:solidFill>
              </a:rPr>
              <a:t>The picture will be filled in the shape automatically while maintaining </a:t>
            </a:r>
            <a:r>
              <a:rPr lang="en-US" altLang="zh-CN" sz="1000">
                <a:solidFill>
                  <a:srgbClr val="2F2F2F"/>
                </a:solidFill>
              </a:rPr>
              <a:t>the </a:t>
            </a:r>
            <a:r>
              <a:rPr lang="en-US" altLang="zh-CN" sz="1000" smtClean="0">
                <a:solidFill>
                  <a:srgbClr val="2F2F2F"/>
                </a:solidFill>
              </a:rPr>
              <a:t>ori</a:t>
            </a:r>
            <a:r>
              <a:rPr lang="en-US" altLang="zh-CN" sz="100" smtClean="0">
                <a:solidFill>
                  <a:srgbClr val="2F2F2F"/>
                </a:solidFill>
              </a:rPr>
              <a:t> </a:t>
            </a:r>
            <a:r>
              <a:rPr lang="en-US" altLang="zh-CN" sz="1000" smtClean="0">
                <a:solidFill>
                  <a:srgbClr val="2F2F2F"/>
                </a:solidFill>
              </a:rPr>
              <a:t>ginal </a:t>
            </a:r>
            <a:r>
              <a:rPr lang="en-US" altLang="zh-CN" sz="1000" dirty="0">
                <a:solidFill>
                  <a:srgbClr val="2F2F2F"/>
                </a:solidFill>
              </a:rPr>
              <a:t>aspect ratio</a:t>
            </a:r>
            <a:endParaRPr lang="zh-CN" altLang="en-US" sz="1000" dirty="0">
              <a:solidFill>
                <a:srgbClr val="2F2F2F"/>
              </a:solidFill>
            </a:endParaRPr>
          </a:p>
        </p:txBody>
      </p:sp>
      <p:sp>
        <p:nvSpPr>
          <p:cNvPr id="754" name="椭圆 753">
            <a:extLst>
              <a:ext uri="{FF2B5EF4-FFF2-40B4-BE49-F238E27FC236}">
                <a16:creationId xmlns:a16="http://schemas.microsoft.com/office/drawing/2014/main" xmlns:p14="http://schemas.microsoft.com/office/powerpoint/2010/main" xmlns:a14="http://schemas.microsoft.com/office/drawing/2010/main" xmlns="" id="{2CAE1083-0567-4F35-9DA3-912D7BA86E08}"/>
              </a:ext>
            </a:extLst>
          </p:cNvPr>
          <p:cNvSpPr/>
          <p:nvPr/>
        </p:nvSpPr>
        <p:spPr>
          <a:xfrm>
            <a:off x="8024992" y="5526324"/>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3</a:t>
            </a:r>
            <a:endParaRPr lang="zh-CN" altLang="en-US" sz="1200" dirty="0"/>
          </a:p>
        </p:txBody>
      </p:sp>
      <p:grpSp>
        <p:nvGrpSpPr>
          <p:cNvPr id="6" name="组合 5">
            <a:extLst>
              <a:ext uri="{FF2B5EF4-FFF2-40B4-BE49-F238E27FC236}">
                <a16:creationId xmlns:a16="http://schemas.microsoft.com/office/drawing/2014/main" xmlns:p14="http://schemas.microsoft.com/office/powerpoint/2010/main" xmlns:a14="http://schemas.microsoft.com/office/drawing/2010/main" xmlns="" id="{05CB054B-5632-4BEE-B55C-057A66B51EA7}"/>
              </a:ext>
            </a:extLst>
          </p:cNvPr>
          <p:cNvGrpSpPr/>
          <p:nvPr/>
        </p:nvGrpSpPr>
        <p:grpSpPr>
          <a:xfrm>
            <a:off x="660400" y="1959178"/>
            <a:ext cx="3493913" cy="2403813"/>
            <a:chOff x="660400" y="1959178"/>
            <a:chExt cx="3493913" cy="2403813"/>
          </a:xfrm>
        </p:grpSpPr>
        <p:sp>
          <p:nvSpPr>
            <p:cNvPr id="795" name="Rectangle 10">
              <a:extLst>
                <a:ext uri="{FF2B5EF4-FFF2-40B4-BE49-F238E27FC236}">
                  <a16:creationId xmlns:a16="http://schemas.microsoft.com/office/drawing/2014/main" xmlns:p14="http://schemas.microsoft.com/office/powerpoint/2010/main" xmlns:a14="http://schemas.microsoft.com/office/drawing/2010/main" xmlns="" id="{EB08811A-69A0-4B03-AD69-4D4093A4A1A1}"/>
                </a:ext>
              </a:extLst>
            </p:cNvPr>
            <p:cNvSpPr>
              <a:spLocks noChangeArrowheads="1"/>
            </p:cNvSpPr>
            <p:nvPr/>
          </p:nvSpPr>
          <p:spPr bwMode="auto">
            <a:xfrm>
              <a:off x="809622" y="2219171"/>
              <a:ext cx="3240163" cy="17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10" name="组合 9">
              <a:extLst>
                <a:ext uri="{FF2B5EF4-FFF2-40B4-BE49-F238E27FC236}">
                  <a16:creationId xmlns:a16="http://schemas.microsoft.com/office/drawing/2014/main" xmlns:p14="http://schemas.microsoft.com/office/powerpoint/2010/main" xmlns:a14="http://schemas.microsoft.com/office/drawing/2010/main" xmlns="" id="{5B9E7E2D-AC2C-49EF-846B-D2112A03771B}"/>
                </a:ext>
              </a:extLst>
            </p:cNvPr>
            <p:cNvGrpSpPr/>
            <p:nvPr/>
          </p:nvGrpSpPr>
          <p:grpSpPr>
            <a:xfrm>
              <a:off x="660400" y="1959178"/>
              <a:ext cx="3493913" cy="2403813"/>
              <a:chOff x="673100" y="1959176"/>
              <a:chExt cx="3493913" cy="2403813"/>
            </a:xfrm>
          </p:grpSpPr>
          <p:grpSp>
            <p:nvGrpSpPr>
              <p:cNvPr id="630" name="组合 629">
                <a:extLst>
                  <a:ext uri="{FF2B5EF4-FFF2-40B4-BE49-F238E27FC236}">
                    <a16:creationId xmlns:a16="http://schemas.microsoft.com/office/drawing/2014/main" xmlns:p14="http://schemas.microsoft.com/office/powerpoint/2010/main" xmlns:a14="http://schemas.microsoft.com/office/drawing/2010/main" xmlns="" id="{510829D3-93DD-45B8-B4CA-857E2EF8EBCC}"/>
                  </a:ext>
                </a:extLst>
              </p:cNvPr>
              <p:cNvGrpSpPr/>
              <p:nvPr/>
            </p:nvGrpSpPr>
            <p:grpSpPr>
              <a:xfrm>
                <a:off x="673100" y="1959176"/>
                <a:ext cx="3493913" cy="2403813"/>
                <a:chOff x="673100" y="1959176"/>
                <a:chExt cx="3493913" cy="2403813"/>
              </a:xfrm>
            </p:grpSpPr>
            <p:sp>
              <p:nvSpPr>
                <p:cNvPr id="631" name="Freeform 6">
                  <a:extLst>
                    <a:ext uri="{FF2B5EF4-FFF2-40B4-BE49-F238E27FC236}">
                      <a16:creationId xmlns:a16="http://schemas.microsoft.com/office/drawing/2014/main" xmlns:p14="http://schemas.microsoft.com/office/powerpoint/2010/main" xmlns:a14="http://schemas.microsoft.com/office/drawing/2010/main" xmlns="" id="{72294BB5-13DA-4B6E-865D-2BD4E411B558}"/>
                    </a:ext>
                  </a:extLst>
                </p:cNvPr>
                <p:cNvSpPr>
                  <a:spLocks/>
                </p:cNvSpPr>
                <p:nvPr/>
              </p:nvSpPr>
              <p:spPr bwMode="auto">
                <a:xfrm>
                  <a:off x="673100"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dirty="0"/>
                </a:p>
              </p:txBody>
            </p:sp>
            <p:sp>
              <p:nvSpPr>
                <p:cNvPr id="632" name="矩形: 圆角 631">
                  <a:extLst>
                    <a:ext uri="{FF2B5EF4-FFF2-40B4-BE49-F238E27FC236}">
                      <a16:creationId xmlns:a16="http://schemas.microsoft.com/office/drawing/2014/main" xmlns:p14="http://schemas.microsoft.com/office/powerpoint/2010/main" xmlns:a14="http://schemas.microsoft.com/office/drawing/2010/main" xmlns="" id="{B0A9673E-E45E-40E8-8394-D4D234EB83B1}"/>
                    </a:ext>
                  </a:extLst>
                </p:cNvPr>
                <p:cNvSpPr>
                  <a:spLocks noChangeAspect="1"/>
                </p:cNvSpPr>
                <p:nvPr/>
              </p:nvSpPr>
              <p:spPr>
                <a:xfrm>
                  <a:off x="810452"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33" name="Rectangle 8">
                  <a:extLst>
                    <a:ext uri="{FF2B5EF4-FFF2-40B4-BE49-F238E27FC236}">
                      <a16:creationId xmlns:a16="http://schemas.microsoft.com/office/drawing/2014/main" xmlns:p14="http://schemas.microsoft.com/office/powerpoint/2010/main" xmlns:a14="http://schemas.microsoft.com/office/drawing/2010/main" xmlns="" id="{2DF9B9B3-2C87-4FB7-B3F8-0991D49AA9E1}"/>
                    </a:ext>
                  </a:extLst>
                </p:cNvPr>
                <p:cNvSpPr>
                  <a:spLocks noChangeArrowheads="1"/>
                </p:cNvSpPr>
                <p:nvPr/>
              </p:nvSpPr>
              <p:spPr bwMode="auto">
                <a:xfrm>
                  <a:off x="810454"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4" name="Rectangle 9">
                  <a:extLst>
                    <a:ext uri="{FF2B5EF4-FFF2-40B4-BE49-F238E27FC236}">
                      <a16:creationId xmlns:a16="http://schemas.microsoft.com/office/drawing/2014/main" xmlns:p14="http://schemas.microsoft.com/office/powerpoint/2010/main" xmlns:a14="http://schemas.microsoft.com/office/drawing/2010/main" xmlns="" id="{F1ABC1A6-AE5D-408B-A4FD-9442DE6B2C82}"/>
                    </a:ext>
                  </a:extLst>
                </p:cNvPr>
                <p:cNvSpPr>
                  <a:spLocks noChangeArrowheads="1"/>
                </p:cNvSpPr>
                <p:nvPr/>
              </p:nvSpPr>
              <p:spPr bwMode="auto">
                <a:xfrm>
                  <a:off x="810454"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5" name="Oval 14">
                  <a:extLst>
                    <a:ext uri="{FF2B5EF4-FFF2-40B4-BE49-F238E27FC236}">
                      <a16:creationId xmlns:a16="http://schemas.microsoft.com/office/drawing/2014/main" xmlns:p14="http://schemas.microsoft.com/office/powerpoint/2010/main" xmlns:a14="http://schemas.microsoft.com/office/drawing/2010/main" xmlns="" id="{596E97CB-AB40-4317-A22D-F6D78AB0F39B}"/>
                    </a:ext>
                  </a:extLst>
                </p:cNvPr>
                <p:cNvSpPr>
                  <a:spLocks noChangeArrowheads="1"/>
                </p:cNvSpPr>
                <p:nvPr/>
              </p:nvSpPr>
              <p:spPr bwMode="auto">
                <a:xfrm>
                  <a:off x="1171610"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6" name="Oval 15">
                  <a:extLst>
                    <a:ext uri="{FF2B5EF4-FFF2-40B4-BE49-F238E27FC236}">
                      <a16:creationId xmlns:a16="http://schemas.microsoft.com/office/drawing/2014/main" xmlns:p14="http://schemas.microsoft.com/office/powerpoint/2010/main" xmlns:a14="http://schemas.microsoft.com/office/drawing/2010/main" xmlns="" id="{D75A818A-89BB-43FB-8B83-1FD85B898D84}"/>
                    </a:ext>
                  </a:extLst>
                </p:cNvPr>
                <p:cNvSpPr>
                  <a:spLocks noChangeArrowheads="1"/>
                </p:cNvSpPr>
                <p:nvPr/>
              </p:nvSpPr>
              <p:spPr bwMode="auto">
                <a:xfrm>
                  <a:off x="1276307"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7" name="Oval 16">
                  <a:extLst>
                    <a:ext uri="{FF2B5EF4-FFF2-40B4-BE49-F238E27FC236}">
                      <a16:creationId xmlns:a16="http://schemas.microsoft.com/office/drawing/2014/main" xmlns:p14="http://schemas.microsoft.com/office/powerpoint/2010/main" xmlns:a14="http://schemas.microsoft.com/office/drawing/2010/main" xmlns="" id="{7DD10C7C-7BA7-4453-B2C4-FD8894F5B431}"/>
                    </a:ext>
                  </a:extLst>
                </p:cNvPr>
                <p:cNvSpPr>
                  <a:spLocks noChangeArrowheads="1"/>
                </p:cNvSpPr>
                <p:nvPr/>
              </p:nvSpPr>
              <p:spPr bwMode="auto">
                <a:xfrm>
                  <a:off x="138100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8" name="Freeform 18">
                  <a:extLst>
                    <a:ext uri="{FF2B5EF4-FFF2-40B4-BE49-F238E27FC236}">
                      <a16:creationId xmlns:a16="http://schemas.microsoft.com/office/drawing/2014/main" xmlns:p14="http://schemas.microsoft.com/office/powerpoint/2010/main" xmlns:a14="http://schemas.microsoft.com/office/drawing/2010/main" xmlns="" id="{67CF1F31-08E2-4A01-993C-B31C6A9CB311}"/>
                    </a:ext>
                  </a:extLst>
                </p:cNvPr>
                <p:cNvSpPr>
                  <a:spLocks/>
                </p:cNvSpPr>
                <p:nvPr/>
              </p:nvSpPr>
              <p:spPr bwMode="auto">
                <a:xfrm>
                  <a:off x="1615371"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9" name="Rectangle 19">
                  <a:extLst>
                    <a:ext uri="{FF2B5EF4-FFF2-40B4-BE49-F238E27FC236}">
                      <a16:creationId xmlns:a16="http://schemas.microsoft.com/office/drawing/2014/main" xmlns:p14="http://schemas.microsoft.com/office/powerpoint/2010/main" xmlns:a14="http://schemas.microsoft.com/office/drawing/2010/main" xmlns="" id="{841C6BD3-6051-4CC5-8012-F63265A7490C}"/>
                    </a:ext>
                  </a:extLst>
                </p:cNvPr>
                <p:cNvSpPr>
                  <a:spLocks noChangeArrowheads="1"/>
                </p:cNvSpPr>
                <p:nvPr/>
              </p:nvSpPr>
              <p:spPr bwMode="auto">
                <a:xfrm>
                  <a:off x="1737357"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0" name="Freeform 20">
                  <a:extLst>
                    <a:ext uri="{FF2B5EF4-FFF2-40B4-BE49-F238E27FC236}">
                      <a16:creationId xmlns:a16="http://schemas.microsoft.com/office/drawing/2014/main" xmlns:p14="http://schemas.microsoft.com/office/powerpoint/2010/main" xmlns:a14="http://schemas.microsoft.com/office/drawing/2010/main" xmlns="" id="{D0B48CBB-7BBA-4DC2-92BE-77F3A8AE7CC7}"/>
                    </a:ext>
                  </a:extLst>
                </p:cNvPr>
                <p:cNvSpPr>
                  <a:spLocks/>
                </p:cNvSpPr>
                <p:nvPr/>
              </p:nvSpPr>
              <p:spPr bwMode="auto">
                <a:xfrm>
                  <a:off x="1139912"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1" name="Freeform 21">
                  <a:extLst>
                    <a:ext uri="{FF2B5EF4-FFF2-40B4-BE49-F238E27FC236}">
                      <a16:creationId xmlns:a16="http://schemas.microsoft.com/office/drawing/2014/main" xmlns:p14="http://schemas.microsoft.com/office/powerpoint/2010/main" xmlns:a14="http://schemas.microsoft.com/office/drawing/2010/main" xmlns="" id="{D77522F3-359C-4A76-8CFB-E98210318674}"/>
                    </a:ext>
                  </a:extLst>
                </p:cNvPr>
                <p:cNvSpPr>
                  <a:spLocks/>
                </p:cNvSpPr>
                <p:nvPr/>
              </p:nvSpPr>
              <p:spPr bwMode="auto">
                <a:xfrm>
                  <a:off x="2317512"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2" name="Freeform 22">
                  <a:extLst>
                    <a:ext uri="{FF2B5EF4-FFF2-40B4-BE49-F238E27FC236}">
                      <a16:creationId xmlns:a16="http://schemas.microsoft.com/office/drawing/2014/main" xmlns:p14="http://schemas.microsoft.com/office/powerpoint/2010/main" xmlns:a14="http://schemas.microsoft.com/office/drawing/2010/main" xmlns="" id="{D29031B0-D856-4AC0-A389-2000EA566C1B}"/>
                    </a:ext>
                  </a:extLst>
                </p:cNvPr>
                <p:cNvSpPr>
                  <a:spLocks/>
                </p:cNvSpPr>
                <p:nvPr/>
              </p:nvSpPr>
              <p:spPr bwMode="auto">
                <a:xfrm>
                  <a:off x="2757430"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3" name="Freeform 23">
                  <a:extLst>
                    <a:ext uri="{FF2B5EF4-FFF2-40B4-BE49-F238E27FC236}">
                      <a16:creationId xmlns:a16="http://schemas.microsoft.com/office/drawing/2014/main" xmlns:p14="http://schemas.microsoft.com/office/powerpoint/2010/main" xmlns:a14="http://schemas.microsoft.com/office/drawing/2010/main" xmlns="" id="{FE055015-7E94-4650-A93E-2EB94EA8FCFE}"/>
                    </a:ext>
                  </a:extLst>
                </p:cNvPr>
                <p:cNvSpPr>
                  <a:spLocks/>
                </p:cNvSpPr>
                <p:nvPr/>
              </p:nvSpPr>
              <p:spPr bwMode="auto">
                <a:xfrm>
                  <a:off x="3197349"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4" name="矩形: 圆角 643">
                  <a:extLst>
                    <a:ext uri="{FF2B5EF4-FFF2-40B4-BE49-F238E27FC236}">
                      <a16:creationId xmlns:a16="http://schemas.microsoft.com/office/drawing/2014/main" xmlns:p14="http://schemas.microsoft.com/office/powerpoint/2010/main" xmlns:a14="http://schemas.microsoft.com/office/drawing/2010/main" xmlns="" id="{A7E978AF-0551-4504-BBDB-E5F72BFA97CA}"/>
                    </a:ext>
                  </a:extLst>
                </p:cNvPr>
                <p:cNvSpPr>
                  <a:spLocks noChangeAspect="1"/>
                </p:cNvSpPr>
                <p:nvPr/>
              </p:nvSpPr>
              <p:spPr>
                <a:xfrm>
                  <a:off x="810452"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5" name="矩形: 圆角 644">
                  <a:extLst>
                    <a:ext uri="{FF2B5EF4-FFF2-40B4-BE49-F238E27FC236}">
                      <a16:creationId xmlns:a16="http://schemas.microsoft.com/office/drawing/2014/main" xmlns:p14="http://schemas.microsoft.com/office/powerpoint/2010/main" xmlns:a14="http://schemas.microsoft.com/office/drawing/2010/main" xmlns="" id="{1D92DB09-1A26-43BD-AC9B-598C9F3BAB5C}"/>
                    </a:ext>
                  </a:extLst>
                </p:cNvPr>
                <p:cNvSpPr>
                  <a:spLocks noChangeAspect="1"/>
                </p:cNvSpPr>
                <p:nvPr/>
              </p:nvSpPr>
              <p:spPr>
                <a:xfrm>
                  <a:off x="810452"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6" name="矩形: 圆角 645">
                  <a:extLst>
                    <a:ext uri="{FF2B5EF4-FFF2-40B4-BE49-F238E27FC236}">
                      <a16:creationId xmlns:a16="http://schemas.microsoft.com/office/drawing/2014/main" xmlns:p14="http://schemas.microsoft.com/office/powerpoint/2010/main" xmlns:a14="http://schemas.microsoft.com/office/drawing/2010/main" xmlns="" id="{B292DAEA-71EC-4C54-BF5B-3F603C828145}"/>
                    </a:ext>
                  </a:extLst>
                </p:cNvPr>
                <p:cNvSpPr>
                  <a:spLocks noChangeAspect="1"/>
                </p:cNvSpPr>
                <p:nvPr/>
              </p:nvSpPr>
              <p:spPr>
                <a:xfrm>
                  <a:off x="810452"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7" name="矩形: 圆角 646">
                  <a:extLst>
                    <a:ext uri="{FF2B5EF4-FFF2-40B4-BE49-F238E27FC236}">
                      <a16:creationId xmlns:a16="http://schemas.microsoft.com/office/drawing/2014/main" xmlns:p14="http://schemas.microsoft.com/office/powerpoint/2010/main" xmlns:a14="http://schemas.microsoft.com/office/drawing/2010/main" xmlns="" id="{FC5AB78D-1183-44FB-B882-A5C05D3FAEE8}"/>
                    </a:ext>
                  </a:extLst>
                </p:cNvPr>
                <p:cNvSpPr>
                  <a:spLocks noChangeAspect="1"/>
                </p:cNvSpPr>
                <p:nvPr/>
              </p:nvSpPr>
              <p:spPr>
                <a:xfrm>
                  <a:off x="1448859"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8" name="矩形: 圆角 647">
                  <a:extLst>
                    <a:ext uri="{FF2B5EF4-FFF2-40B4-BE49-F238E27FC236}">
                      <a16:creationId xmlns:a16="http://schemas.microsoft.com/office/drawing/2014/main" xmlns:p14="http://schemas.microsoft.com/office/powerpoint/2010/main" xmlns:a14="http://schemas.microsoft.com/office/drawing/2010/main" xmlns="" id="{E7793187-92B2-493B-8B2F-C1D87DCE8C84}"/>
                    </a:ext>
                  </a:extLst>
                </p:cNvPr>
                <p:cNvSpPr>
                  <a:spLocks noChangeAspect="1"/>
                </p:cNvSpPr>
                <p:nvPr/>
              </p:nvSpPr>
              <p:spPr>
                <a:xfrm>
                  <a:off x="810452"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9" name="组合 8">
                <a:extLst>
                  <a:ext uri="{FF2B5EF4-FFF2-40B4-BE49-F238E27FC236}">
                    <a16:creationId xmlns:a16="http://schemas.microsoft.com/office/drawing/2014/main" xmlns:p14="http://schemas.microsoft.com/office/powerpoint/2010/main" xmlns:a14="http://schemas.microsoft.com/office/drawing/2010/main" xmlns="" id="{276AC502-71BC-4226-8EC2-9CE0C1B80C6A}"/>
                  </a:ext>
                </a:extLst>
              </p:cNvPr>
              <p:cNvGrpSpPr/>
              <p:nvPr/>
            </p:nvGrpSpPr>
            <p:grpSpPr>
              <a:xfrm>
                <a:off x="1642158" y="3169834"/>
                <a:ext cx="2158596" cy="669284"/>
                <a:chOff x="1642158" y="3169834"/>
                <a:chExt cx="2158596" cy="669284"/>
              </a:xfrm>
            </p:grpSpPr>
            <p:sp>
              <p:nvSpPr>
                <p:cNvPr id="420" name="矩形 419">
                  <a:extLst>
                    <a:ext uri="{FF2B5EF4-FFF2-40B4-BE49-F238E27FC236}">
                      <a16:creationId xmlns:a16="http://schemas.microsoft.com/office/drawing/2014/main" xmlns:p14="http://schemas.microsoft.com/office/powerpoint/2010/main" xmlns:a14="http://schemas.microsoft.com/office/drawing/2010/main" xmlns="" id="{B63E4F93-58FC-4CD9-A34C-1104C0B05951}"/>
                    </a:ext>
                  </a:extLst>
                </p:cNvPr>
                <p:cNvSpPr/>
                <p:nvPr/>
              </p:nvSpPr>
              <p:spPr>
                <a:xfrm>
                  <a:off x="1658305"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 name="组合 7">
                  <a:extLst>
                    <a:ext uri="{FF2B5EF4-FFF2-40B4-BE49-F238E27FC236}">
                      <a16:creationId xmlns:a16="http://schemas.microsoft.com/office/drawing/2014/main" xmlns:p14="http://schemas.microsoft.com/office/powerpoint/2010/main" xmlns:a14="http://schemas.microsoft.com/office/drawing/2010/main" xmlns="" id="{2745541B-888E-4007-BA79-52D8C8B54A33}"/>
                    </a:ext>
                  </a:extLst>
                </p:cNvPr>
                <p:cNvGrpSpPr/>
                <p:nvPr/>
              </p:nvGrpSpPr>
              <p:grpSpPr>
                <a:xfrm>
                  <a:off x="1687146" y="3211004"/>
                  <a:ext cx="2101734" cy="587141"/>
                  <a:chOff x="1633218" y="3294045"/>
                  <a:chExt cx="2101734" cy="587141"/>
                </a:xfrm>
              </p:grpSpPr>
              <p:sp>
                <p:nvSpPr>
                  <p:cNvPr id="125" name="圆角矩形 13">
                    <a:extLst>
                      <a:ext uri="{FF2B5EF4-FFF2-40B4-BE49-F238E27FC236}">
                        <a16:creationId xmlns:a16="http://schemas.microsoft.com/office/drawing/2014/main" xmlns:p14="http://schemas.microsoft.com/office/powerpoint/2010/main" xmlns:a14="http://schemas.microsoft.com/office/drawing/2010/main" xmlns="" id="{488858F3-69A3-4E36-933E-A60BB21CB6F5}"/>
                      </a:ext>
                    </a:extLst>
                  </p:cNvPr>
                  <p:cNvSpPr/>
                  <p:nvPr/>
                </p:nvSpPr>
                <p:spPr>
                  <a:xfrm>
                    <a:off x="1633218" y="3294045"/>
                    <a:ext cx="875309" cy="587141"/>
                  </a:xfrm>
                  <a:prstGeom prst="roundRect">
                    <a:avLst>
                      <a:gd name="adj" fmla="val 8038"/>
                    </a:avLst>
                  </a:prstGeom>
                  <a:pattFill prst="pct5">
                    <a:fgClr>
                      <a:srgbClr val="867D98">
                        <a:lumMod val="20000"/>
                        <a:lumOff val="80000"/>
                      </a:srgbClr>
                    </a:fgClr>
                    <a:bgClr>
                      <a:srgbClr val="ADB5BF"/>
                    </a:bgClr>
                  </a:patt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grpSp>
                <p:nvGrpSpPr>
                  <p:cNvPr id="144" name="组合 143">
                    <a:extLst>
                      <a:ext uri="{FF2B5EF4-FFF2-40B4-BE49-F238E27FC236}">
                        <a16:creationId xmlns:a16="http://schemas.microsoft.com/office/drawing/2014/main" xmlns:p14="http://schemas.microsoft.com/office/powerpoint/2010/main" xmlns:a14="http://schemas.microsoft.com/office/drawing/2010/main" xmlns="" id="{428E477C-F4CA-49FF-BCAA-14A401D6124F}"/>
                      </a:ext>
                    </a:extLst>
                  </p:cNvPr>
                  <p:cNvGrpSpPr/>
                  <p:nvPr/>
                </p:nvGrpSpPr>
                <p:grpSpPr>
                  <a:xfrm>
                    <a:off x="2634832" y="3294045"/>
                    <a:ext cx="1100120" cy="587141"/>
                    <a:chOff x="1703214" y="3185928"/>
                    <a:chExt cx="582258" cy="521425"/>
                  </a:xfrm>
                </p:grpSpPr>
                <p:sp>
                  <p:nvSpPr>
                    <p:cNvPr id="145" name="矩形 144">
                      <a:extLst>
                        <a:ext uri="{FF2B5EF4-FFF2-40B4-BE49-F238E27FC236}">
                          <a16:creationId xmlns:a16="http://schemas.microsoft.com/office/drawing/2014/main" xmlns:p14="http://schemas.microsoft.com/office/powerpoint/2010/main" xmlns:a14="http://schemas.microsoft.com/office/drawing/2010/main" xmlns="" id="{249614F1-31F8-42D0-BCAF-3758E46C4D47}"/>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6" name="矩形 145">
                      <a:extLst>
                        <a:ext uri="{FF2B5EF4-FFF2-40B4-BE49-F238E27FC236}">
                          <a16:creationId xmlns:a16="http://schemas.microsoft.com/office/drawing/2014/main" xmlns:p14="http://schemas.microsoft.com/office/powerpoint/2010/main" xmlns:a14="http://schemas.microsoft.com/office/drawing/2010/main" xmlns="" id="{184CA460-5482-4CA9-949D-41F2E9F5C978}"/>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矩形 150">
                      <a:extLst>
                        <a:ext uri="{FF2B5EF4-FFF2-40B4-BE49-F238E27FC236}">
                          <a16:creationId xmlns:a16="http://schemas.microsoft.com/office/drawing/2014/main" xmlns:p14="http://schemas.microsoft.com/office/powerpoint/2010/main" xmlns:a14="http://schemas.microsoft.com/office/drawing/2010/main" xmlns="" id="{8F9D1724-52B7-4FFD-845E-8DBA04B24E52}"/>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169" name="组合 168">
                  <a:extLst>
                    <a:ext uri="{FF2B5EF4-FFF2-40B4-BE49-F238E27FC236}">
                      <a16:creationId xmlns:a16="http://schemas.microsoft.com/office/drawing/2014/main" xmlns:p14="http://schemas.microsoft.com/office/powerpoint/2010/main" xmlns:a14="http://schemas.microsoft.com/office/drawing/2010/main" xmlns="" id="{EC3F73D4-F515-4140-8158-87AE57BCA18E}"/>
                    </a:ext>
                  </a:extLst>
                </p:cNvPr>
                <p:cNvGrpSpPr/>
                <p:nvPr/>
              </p:nvGrpSpPr>
              <p:grpSpPr>
                <a:xfrm>
                  <a:off x="1642158" y="3169834"/>
                  <a:ext cx="956891" cy="669284"/>
                  <a:chOff x="4979129" y="5045363"/>
                  <a:chExt cx="526932" cy="368557"/>
                </a:xfrm>
              </p:grpSpPr>
              <p:sp>
                <p:nvSpPr>
                  <p:cNvPr id="170" name="矩形 169">
                    <a:extLst>
                      <a:ext uri="{FF2B5EF4-FFF2-40B4-BE49-F238E27FC236}">
                        <a16:creationId xmlns:a16="http://schemas.microsoft.com/office/drawing/2014/main" xmlns:p14="http://schemas.microsoft.com/office/powerpoint/2010/main" xmlns:a14="http://schemas.microsoft.com/office/drawing/2010/main" xmlns="" id="{E1A6343C-E9AF-4F6B-8807-64C6D3898212}"/>
                      </a:ext>
                    </a:extLst>
                  </p:cNvPr>
                  <p:cNvSpPr/>
                  <p:nvPr/>
                </p:nvSpPr>
                <p:spPr>
                  <a:xfrm>
                    <a:off x="5001992" y="5068224"/>
                    <a:ext cx="481727" cy="323135"/>
                  </a:xfrm>
                  <a:prstGeom prst="rect">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1" name="椭圆 170">
                    <a:extLst>
                      <a:ext uri="{FF2B5EF4-FFF2-40B4-BE49-F238E27FC236}">
                        <a16:creationId xmlns:a16="http://schemas.microsoft.com/office/drawing/2014/main" xmlns:p14="http://schemas.microsoft.com/office/powerpoint/2010/main" xmlns:a14="http://schemas.microsoft.com/office/drawing/2010/main" xmlns="" id="{369817C5-79D9-4864-8C51-E8A19B7DA008}"/>
                      </a:ext>
                    </a:extLst>
                  </p:cNvPr>
                  <p:cNvSpPr/>
                  <p:nvPr/>
                </p:nvSpPr>
                <p:spPr>
                  <a:xfrm flipH="1">
                    <a:off x="4979129" y="5045363"/>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椭圆 171">
                    <a:extLst>
                      <a:ext uri="{FF2B5EF4-FFF2-40B4-BE49-F238E27FC236}">
                        <a16:creationId xmlns:a16="http://schemas.microsoft.com/office/drawing/2014/main" xmlns:p14="http://schemas.microsoft.com/office/powerpoint/2010/main" xmlns:a14="http://schemas.microsoft.com/office/drawing/2010/main" xmlns="" id="{0264495B-17CB-4E7B-BFE8-5DF7A0249796}"/>
                      </a:ext>
                    </a:extLst>
                  </p:cNvPr>
                  <p:cNvSpPr/>
                  <p:nvPr/>
                </p:nvSpPr>
                <p:spPr>
                  <a:xfrm flipH="1">
                    <a:off x="5219995" y="5045363"/>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椭圆 172">
                    <a:extLst>
                      <a:ext uri="{FF2B5EF4-FFF2-40B4-BE49-F238E27FC236}">
                        <a16:creationId xmlns:a16="http://schemas.microsoft.com/office/drawing/2014/main" xmlns:p14="http://schemas.microsoft.com/office/powerpoint/2010/main" xmlns:a14="http://schemas.microsoft.com/office/drawing/2010/main" xmlns="" id="{07318BFA-8529-4CB7-A1DF-AE3F0CAF4B3B}"/>
                      </a:ext>
                    </a:extLst>
                  </p:cNvPr>
                  <p:cNvSpPr/>
                  <p:nvPr/>
                </p:nvSpPr>
                <p:spPr>
                  <a:xfrm flipH="1">
                    <a:off x="5460337" y="5045363"/>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椭圆 176">
                    <a:extLst>
                      <a:ext uri="{FF2B5EF4-FFF2-40B4-BE49-F238E27FC236}">
                        <a16:creationId xmlns:a16="http://schemas.microsoft.com/office/drawing/2014/main" xmlns:p14="http://schemas.microsoft.com/office/powerpoint/2010/main" xmlns:a14="http://schemas.microsoft.com/office/drawing/2010/main" xmlns="" id="{01C057E9-76C3-4DCD-B579-9BB383218B7D}"/>
                      </a:ext>
                    </a:extLst>
                  </p:cNvPr>
                  <p:cNvSpPr/>
                  <p:nvPr/>
                </p:nvSpPr>
                <p:spPr>
                  <a:xfrm flipH="1">
                    <a:off x="4979129" y="5206931"/>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椭圆 177">
                    <a:extLst>
                      <a:ext uri="{FF2B5EF4-FFF2-40B4-BE49-F238E27FC236}">
                        <a16:creationId xmlns:a16="http://schemas.microsoft.com/office/drawing/2014/main" xmlns:p14="http://schemas.microsoft.com/office/powerpoint/2010/main" xmlns:a14="http://schemas.microsoft.com/office/drawing/2010/main" xmlns="" id="{4D360A41-2751-4012-85FB-FB320C5FDC4E}"/>
                      </a:ext>
                    </a:extLst>
                  </p:cNvPr>
                  <p:cNvSpPr/>
                  <p:nvPr/>
                </p:nvSpPr>
                <p:spPr>
                  <a:xfrm flipH="1">
                    <a:off x="5460341" y="5206931"/>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椭圆 189">
                    <a:extLst>
                      <a:ext uri="{FF2B5EF4-FFF2-40B4-BE49-F238E27FC236}">
                        <a16:creationId xmlns:a16="http://schemas.microsoft.com/office/drawing/2014/main" xmlns:p14="http://schemas.microsoft.com/office/powerpoint/2010/main" xmlns:a14="http://schemas.microsoft.com/office/drawing/2010/main" xmlns="" id="{98AAFF81-4D05-4193-AD73-8D53438272E5}"/>
                      </a:ext>
                    </a:extLst>
                  </p:cNvPr>
                  <p:cNvSpPr/>
                  <p:nvPr/>
                </p:nvSpPr>
                <p:spPr>
                  <a:xfrm flipH="1">
                    <a:off x="4979129" y="5368200"/>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椭圆 190">
                    <a:extLst>
                      <a:ext uri="{FF2B5EF4-FFF2-40B4-BE49-F238E27FC236}">
                        <a16:creationId xmlns:a16="http://schemas.microsoft.com/office/drawing/2014/main" xmlns:p14="http://schemas.microsoft.com/office/powerpoint/2010/main" xmlns:a14="http://schemas.microsoft.com/office/drawing/2010/main" xmlns="" id="{51B80C2F-8B0A-4B59-A45E-11544A481C29}"/>
                      </a:ext>
                    </a:extLst>
                  </p:cNvPr>
                  <p:cNvSpPr/>
                  <p:nvPr/>
                </p:nvSpPr>
                <p:spPr>
                  <a:xfrm flipH="1">
                    <a:off x="5219995" y="5368198"/>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椭圆 191">
                    <a:extLst>
                      <a:ext uri="{FF2B5EF4-FFF2-40B4-BE49-F238E27FC236}">
                        <a16:creationId xmlns:a16="http://schemas.microsoft.com/office/drawing/2014/main" xmlns:p14="http://schemas.microsoft.com/office/powerpoint/2010/main" xmlns:a14="http://schemas.microsoft.com/office/drawing/2010/main" xmlns="" id="{2D68CCDA-A842-4953-913F-5D57DD0DA445}"/>
                      </a:ext>
                    </a:extLst>
                  </p:cNvPr>
                  <p:cNvSpPr/>
                  <p:nvPr/>
                </p:nvSpPr>
                <p:spPr>
                  <a:xfrm flipH="1">
                    <a:off x="5460337" y="5368198"/>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sp>
        <p:nvSpPr>
          <p:cNvPr id="211" name="矩形 210">
            <a:extLst>
              <a:ext uri="{FF2B5EF4-FFF2-40B4-BE49-F238E27FC236}">
                <a16:creationId xmlns:a16="http://schemas.microsoft.com/office/drawing/2014/main" xmlns:p14="http://schemas.microsoft.com/office/powerpoint/2010/main" xmlns:a14="http://schemas.microsoft.com/office/drawing/2010/main" xmlns="" id="{0510714D-1063-4116-9681-56D6C11586DB}"/>
              </a:ext>
            </a:extLst>
          </p:cNvPr>
          <p:cNvSpPr/>
          <p:nvPr/>
        </p:nvSpPr>
        <p:spPr>
          <a:xfrm>
            <a:off x="9010199" y="3180644"/>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1" name="组合 10">
            <a:extLst>
              <a:ext uri="{FF2B5EF4-FFF2-40B4-BE49-F238E27FC236}">
                <a16:creationId xmlns:a16="http://schemas.microsoft.com/office/drawing/2014/main" xmlns:p14="http://schemas.microsoft.com/office/powerpoint/2010/main" xmlns:a14="http://schemas.microsoft.com/office/drawing/2010/main" xmlns="" id="{956C0B5D-F5F6-4391-BA8D-37F22BE68FDA}"/>
              </a:ext>
            </a:extLst>
          </p:cNvPr>
          <p:cNvGrpSpPr/>
          <p:nvPr/>
        </p:nvGrpSpPr>
        <p:grpSpPr>
          <a:xfrm>
            <a:off x="8024987" y="1959178"/>
            <a:ext cx="3493913" cy="2403813"/>
            <a:chOff x="8024986" y="1959176"/>
            <a:chExt cx="3493913" cy="2403813"/>
          </a:xfrm>
        </p:grpSpPr>
        <p:grpSp>
          <p:nvGrpSpPr>
            <p:cNvPr id="608" name="组合 607">
              <a:extLst>
                <a:ext uri="{FF2B5EF4-FFF2-40B4-BE49-F238E27FC236}">
                  <a16:creationId xmlns:a16="http://schemas.microsoft.com/office/drawing/2014/main" xmlns:p14="http://schemas.microsoft.com/office/powerpoint/2010/main" xmlns:a14="http://schemas.microsoft.com/office/drawing/2010/main" xmlns="" id="{DCCD8EAC-8413-4950-94D6-6E1EB4F34DD5}"/>
                </a:ext>
              </a:extLst>
            </p:cNvPr>
            <p:cNvGrpSpPr/>
            <p:nvPr/>
          </p:nvGrpSpPr>
          <p:grpSpPr>
            <a:xfrm>
              <a:off x="8024986" y="1959176"/>
              <a:ext cx="3493913" cy="2403813"/>
              <a:chOff x="8024986" y="1959176"/>
              <a:chExt cx="3493913" cy="2403813"/>
            </a:xfrm>
          </p:grpSpPr>
          <p:sp>
            <p:nvSpPr>
              <p:cNvPr id="609" name="Freeform 6">
                <a:extLst>
                  <a:ext uri="{FF2B5EF4-FFF2-40B4-BE49-F238E27FC236}">
                    <a16:creationId xmlns:a16="http://schemas.microsoft.com/office/drawing/2014/main" xmlns:p14="http://schemas.microsoft.com/office/powerpoint/2010/main" xmlns:a14="http://schemas.microsoft.com/office/drawing/2010/main" xmlns="" id="{FF69F6C2-47FC-4959-84F0-F8BCB61C572F}"/>
                  </a:ext>
                </a:extLst>
              </p:cNvPr>
              <p:cNvSpPr>
                <a:spLocks/>
              </p:cNvSpPr>
              <p:nvPr/>
            </p:nvSpPr>
            <p:spPr bwMode="auto">
              <a:xfrm>
                <a:off x="8024986"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0" name="矩形: 圆角 609">
                <a:extLst>
                  <a:ext uri="{FF2B5EF4-FFF2-40B4-BE49-F238E27FC236}">
                    <a16:creationId xmlns:a16="http://schemas.microsoft.com/office/drawing/2014/main" xmlns:p14="http://schemas.microsoft.com/office/powerpoint/2010/main" xmlns:a14="http://schemas.microsoft.com/office/drawing/2010/main" xmlns="" id="{6C5B2963-ECA9-4700-AEF1-D4F9D0446EAE}"/>
                  </a:ext>
                </a:extLst>
              </p:cNvPr>
              <p:cNvSpPr>
                <a:spLocks noChangeAspect="1"/>
              </p:cNvSpPr>
              <p:nvPr/>
            </p:nvSpPr>
            <p:spPr>
              <a:xfrm>
                <a:off x="8162338"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11" name="Rectangle 8">
                <a:extLst>
                  <a:ext uri="{FF2B5EF4-FFF2-40B4-BE49-F238E27FC236}">
                    <a16:creationId xmlns:a16="http://schemas.microsoft.com/office/drawing/2014/main" xmlns:p14="http://schemas.microsoft.com/office/powerpoint/2010/main" xmlns:a14="http://schemas.microsoft.com/office/drawing/2010/main" xmlns="" id="{FC9BDBEC-A273-4FEB-892A-E0B9D85FAD0F}"/>
                  </a:ext>
                </a:extLst>
              </p:cNvPr>
              <p:cNvSpPr>
                <a:spLocks noChangeArrowheads="1"/>
              </p:cNvSpPr>
              <p:nvPr/>
            </p:nvSpPr>
            <p:spPr bwMode="auto">
              <a:xfrm>
                <a:off x="8162340"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2" name="Rectangle 9">
                <a:extLst>
                  <a:ext uri="{FF2B5EF4-FFF2-40B4-BE49-F238E27FC236}">
                    <a16:creationId xmlns:a16="http://schemas.microsoft.com/office/drawing/2014/main" xmlns:p14="http://schemas.microsoft.com/office/powerpoint/2010/main" xmlns:a14="http://schemas.microsoft.com/office/drawing/2010/main" xmlns="" id="{9A98051B-AB98-43BD-8039-1C62FB08D8B8}"/>
                  </a:ext>
                </a:extLst>
              </p:cNvPr>
              <p:cNvSpPr>
                <a:spLocks noChangeArrowheads="1"/>
              </p:cNvSpPr>
              <p:nvPr/>
            </p:nvSpPr>
            <p:spPr bwMode="auto">
              <a:xfrm>
                <a:off x="8162340"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5" name="Oval 14">
                <a:extLst>
                  <a:ext uri="{FF2B5EF4-FFF2-40B4-BE49-F238E27FC236}">
                    <a16:creationId xmlns:a16="http://schemas.microsoft.com/office/drawing/2014/main" xmlns:p14="http://schemas.microsoft.com/office/powerpoint/2010/main" xmlns:a14="http://schemas.microsoft.com/office/drawing/2010/main" xmlns="" id="{471121A1-F8F1-44CB-8F2F-C0D1C37860A8}"/>
                  </a:ext>
                </a:extLst>
              </p:cNvPr>
              <p:cNvSpPr>
                <a:spLocks noChangeArrowheads="1"/>
              </p:cNvSpPr>
              <p:nvPr/>
            </p:nvSpPr>
            <p:spPr bwMode="auto">
              <a:xfrm>
                <a:off x="8523496"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6" name="Oval 15">
                <a:extLst>
                  <a:ext uri="{FF2B5EF4-FFF2-40B4-BE49-F238E27FC236}">
                    <a16:creationId xmlns:a16="http://schemas.microsoft.com/office/drawing/2014/main" xmlns:p14="http://schemas.microsoft.com/office/powerpoint/2010/main" xmlns:a14="http://schemas.microsoft.com/office/drawing/2010/main" xmlns="" id="{A40A8446-7E8E-4B21-9495-3CF22B7C42C3}"/>
                  </a:ext>
                </a:extLst>
              </p:cNvPr>
              <p:cNvSpPr>
                <a:spLocks noChangeArrowheads="1"/>
              </p:cNvSpPr>
              <p:nvPr/>
            </p:nvSpPr>
            <p:spPr bwMode="auto">
              <a:xfrm>
                <a:off x="862819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7" name="Oval 16">
                <a:extLst>
                  <a:ext uri="{FF2B5EF4-FFF2-40B4-BE49-F238E27FC236}">
                    <a16:creationId xmlns:a16="http://schemas.microsoft.com/office/drawing/2014/main" xmlns:p14="http://schemas.microsoft.com/office/powerpoint/2010/main" xmlns:a14="http://schemas.microsoft.com/office/drawing/2010/main" xmlns="" id="{BE987962-30BE-4B9B-9CA4-6D7883091721}"/>
                  </a:ext>
                </a:extLst>
              </p:cNvPr>
              <p:cNvSpPr>
                <a:spLocks noChangeArrowheads="1"/>
              </p:cNvSpPr>
              <p:nvPr/>
            </p:nvSpPr>
            <p:spPr bwMode="auto">
              <a:xfrm>
                <a:off x="8732889"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9" name="Freeform 18">
                <a:extLst>
                  <a:ext uri="{FF2B5EF4-FFF2-40B4-BE49-F238E27FC236}">
                    <a16:creationId xmlns:a16="http://schemas.microsoft.com/office/drawing/2014/main" xmlns:p14="http://schemas.microsoft.com/office/powerpoint/2010/main" xmlns:a14="http://schemas.microsoft.com/office/drawing/2010/main" xmlns="" id="{30E2C5FC-33B1-47E5-AD36-4E6B4FAEBBCC}"/>
                  </a:ext>
                </a:extLst>
              </p:cNvPr>
              <p:cNvSpPr>
                <a:spLocks/>
              </p:cNvSpPr>
              <p:nvPr/>
            </p:nvSpPr>
            <p:spPr bwMode="auto">
              <a:xfrm>
                <a:off x="8967257"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20" name="Rectangle 19">
                <a:extLst>
                  <a:ext uri="{FF2B5EF4-FFF2-40B4-BE49-F238E27FC236}">
                    <a16:creationId xmlns:a16="http://schemas.microsoft.com/office/drawing/2014/main" xmlns:p14="http://schemas.microsoft.com/office/powerpoint/2010/main" xmlns:a14="http://schemas.microsoft.com/office/drawing/2010/main" xmlns="" id="{28F7A2CC-66F3-42CD-9732-C1AA1859EC83}"/>
                  </a:ext>
                </a:extLst>
              </p:cNvPr>
              <p:cNvSpPr>
                <a:spLocks noChangeArrowheads="1"/>
              </p:cNvSpPr>
              <p:nvPr/>
            </p:nvSpPr>
            <p:spPr bwMode="auto">
              <a:xfrm>
                <a:off x="9089243"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21" name="Freeform 20">
                <a:extLst>
                  <a:ext uri="{FF2B5EF4-FFF2-40B4-BE49-F238E27FC236}">
                    <a16:creationId xmlns:a16="http://schemas.microsoft.com/office/drawing/2014/main" xmlns:p14="http://schemas.microsoft.com/office/powerpoint/2010/main" xmlns:a14="http://schemas.microsoft.com/office/drawing/2010/main" xmlns="" id="{4DD48F52-1F9A-476B-8A9A-20C8F508B49F}"/>
                  </a:ext>
                </a:extLst>
              </p:cNvPr>
              <p:cNvSpPr>
                <a:spLocks/>
              </p:cNvSpPr>
              <p:nvPr/>
            </p:nvSpPr>
            <p:spPr bwMode="auto">
              <a:xfrm>
                <a:off x="8491798"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2" name="Freeform 21">
                <a:extLst>
                  <a:ext uri="{FF2B5EF4-FFF2-40B4-BE49-F238E27FC236}">
                    <a16:creationId xmlns:a16="http://schemas.microsoft.com/office/drawing/2014/main" xmlns:p14="http://schemas.microsoft.com/office/powerpoint/2010/main" xmlns:a14="http://schemas.microsoft.com/office/drawing/2010/main" xmlns="" id="{472B9D02-8F50-440D-9F55-2E34EDD06C26}"/>
                  </a:ext>
                </a:extLst>
              </p:cNvPr>
              <p:cNvSpPr>
                <a:spLocks/>
              </p:cNvSpPr>
              <p:nvPr/>
            </p:nvSpPr>
            <p:spPr bwMode="auto">
              <a:xfrm>
                <a:off x="9669398"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3" name="Freeform 22">
                <a:extLst>
                  <a:ext uri="{FF2B5EF4-FFF2-40B4-BE49-F238E27FC236}">
                    <a16:creationId xmlns:a16="http://schemas.microsoft.com/office/drawing/2014/main" xmlns:p14="http://schemas.microsoft.com/office/powerpoint/2010/main" xmlns:a14="http://schemas.microsoft.com/office/drawing/2010/main" xmlns="" id="{A5F8C765-92B7-41C1-87CB-C17E9F46333C}"/>
                  </a:ext>
                </a:extLst>
              </p:cNvPr>
              <p:cNvSpPr>
                <a:spLocks/>
              </p:cNvSpPr>
              <p:nvPr/>
            </p:nvSpPr>
            <p:spPr bwMode="auto">
              <a:xfrm>
                <a:off x="10109316"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4" name="Freeform 23">
                <a:extLst>
                  <a:ext uri="{FF2B5EF4-FFF2-40B4-BE49-F238E27FC236}">
                    <a16:creationId xmlns:a16="http://schemas.microsoft.com/office/drawing/2014/main" xmlns:p14="http://schemas.microsoft.com/office/powerpoint/2010/main" xmlns:a14="http://schemas.microsoft.com/office/drawing/2010/main" xmlns="" id="{0BA9A71E-D138-4574-8EE0-19A441C6AF2A}"/>
                  </a:ext>
                </a:extLst>
              </p:cNvPr>
              <p:cNvSpPr>
                <a:spLocks/>
              </p:cNvSpPr>
              <p:nvPr/>
            </p:nvSpPr>
            <p:spPr bwMode="auto">
              <a:xfrm>
                <a:off x="10549235"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5" name="矩形: 圆角 624">
                <a:extLst>
                  <a:ext uri="{FF2B5EF4-FFF2-40B4-BE49-F238E27FC236}">
                    <a16:creationId xmlns:a16="http://schemas.microsoft.com/office/drawing/2014/main" xmlns:p14="http://schemas.microsoft.com/office/powerpoint/2010/main" xmlns:a14="http://schemas.microsoft.com/office/drawing/2010/main" xmlns="" id="{92E768DA-EF1D-42C2-9B38-20445A9E3BC3}"/>
                  </a:ext>
                </a:extLst>
              </p:cNvPr>
              <p:cNvSpPr>
                <a:spLocks noChangeAspect="1"/>
              </p:cNvSpPr>
              <p:nvPr/>
            </p:nvSpPr>
            <p:spPr>
              <a:xfrm>
                <a:off x="8162338"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6" name="矩形: 圆角 625">
                <a:extLst>
                  <a:ext uri="{FF2B5EF4-FFF2-40B4-BE49-F238E27FC236}">
                    <a16:creationId xmlns:a16="http://schemas.microsoft.com/office/drawing/2014/main" xmlns:p14="http://schemas.microsoft.com/office/powerpoint/2010/main" xmlns:a14="http://schemas.microsoft.com/office/drawing/2010/main" xmlns="" id="{7AFD250F-B882-418A-B79A-AE329F8692B0}"/>
                  </a:ext>
                </a:extLst>
              </p:cNvPr>
              <p:cNvSpPr>
                <a:spLocks noChangeAspect="1"/>
              </p:cNvSpPr>
              <p:nvPr/>
            </p:nvSpPr>
            <p:spPr>
              <a:xfrm>
                <a:off x="8162338"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7" name="矩形: 圆角 626">
                <a:extLst>
                  <a:ext uri="{FF2B5EF4-FFF2-40B4-BE49-F238E27FC236}">
                    <a16:creationId xmlns:a16="http://schemas.microsoft.com/office/drawing/2014/main" xmlns:p14="http://schemas.microsoft.com/office/powerpoint/2010/main" xmlns:a14="http://schemas.microsoft.com/office/drawing/2010/main" xmlns="" id="{3CA75934-C292-46AD-9325-128D972B839C}"/>
                  </a:ext>
                </a:extLst>
              </p:cNvPr>
              <p:cNvSpPr>
                <a:spLocks noChangeAspect="1"/>
              </p:cNvSpPr>
              <p:nvPr/>
            </p:nvSpPr>
            <p:spPr>
              <a:xfrm>
                <a:off x="8162338"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8" name="矩形: 圆角 627">
                <a:extLst>
                  <a:ext uri="{FF2B5EF4-FFF2-40B4-BE49-F238E27FC236}">
                    <a16:creationId xmlns:a16="http://schemas.microsoft.com/office/drawing/2014/main" xmlns:p14="http://schemas.microsoft.com/office/powerpoint/2010/main" xmlns:a14="http://schemas.microsoft.com/office/drawing/2010/main" xmlns="" id="{5E37EE48-49D9-4743-98F1-815E336336AA}"/>
                  </a:ext>
                </a:extLst>
              </p:cNvPr>
              <p:cNvSpPr>
                <a:spLocks noChangeAspect="1"/>
              </p:cNvSpPr>
              <p:nvPr/>
            </p:nvSpPr>
            <p:spPr>
              <a:xfrm>
                <a:off x="8800745"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9" name="矩形: 圆角 628">
                <a:extLst>
                  <a:ext uri="{FF2B5EF4-FFF2-40B4-BE49-F238E27FC236}">
                    <a16:creationId xmlns:a16="http://schemas.microsoft.com/office/drawing/2014/main" xmlns:p14="http://schemas.microsoft.com/office/powerpoint/2010/main" xmlns:a14="http://schemas.microsoft.com/office/drawing/2010/main" xmlns="" id="{7396136D-056B-45EB-853B-366205E7375D}"/>
                  </a:ext>
                </a:extLst>
              </p:cNvPr>
              <p:cNvSpPr>
                <a:spLocks noChangeAspect="1"/>
              </p:cNvSpPr>
              <p:nvPr/>
            </p:nvSpPr>
            <p:spPr>
              <a:xfrm>
                <a:off x="8162338"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214" name="组合 213">
              <a:extLst>
                <a:ext uri="{FF2B5EF4-FFF2-40B4-BE49-F238E27FC236}">
                  <a16:creationId xmlns:a16="http://schemas.microsoft.com/office/drawing/2014/main" xmlns:p14="http://schemas.microsoft.com/office/powerpoint/2010/main" xmlns:a14="http://schemas.microsoft.com/office/drawing/2010/main" xmlns="" id="{7FEAF294-79A2-4F9A-89C4-B17D5389BFEF}"/>
                </a:ext>
              </a:extLst>
            </p:cNvPr>
            <p:cNvGrpSpPr/>
            <p:nvPr/>
          </p:nvGrpSpPr>
          <p:grpSpPr>
            <a:xfrm>
              <a:off x="9039034" y="3211004"/>
              <a:ext cx="2101734" cy="587141"/>
              <a:chOff x="1633218" y="3294045"/>
              <a:chExt cx="2101734" cy="587141"/>
            </a:xfrm>
          </p:grpSpPr>
          <p:sp>
            <p:nvSpPr>
              <p:cNvPr id="231" name="圆角矩形 13">
                <a:extLst>
                  <a:ext uri="{FF2B5EF4-FFF2-40B4-BE49-F238E27FC236}">
                    <a16:creationId xmlns:a16="http://schemas.microsoft.com/office/drawing/2014/main" xmlns:p14="http://schemas.microsoft.com/office/powerpoint/2010/main" xmlns:a14="http://schemas.microsoft.com/office/drawing/2010/main" xmlns="" id="{9491DAE1-4CEA-4AFC-A030-4E6E6F3F2EDA}"/>
                  </a:ext>
                </a:extLst>
              </p:cNvPr>
              <p:cNvSpPr/>
              <p:nvPr/>
            </p:nvSpPr>
            <p:spPr>
              <a:xfrm>
                <a:off x="1633218" y="3294045"/>
                <a:ext cx="875309" cy="587141"/>
              </a:xfrm>
              <a:prstGeom prst="roundRect">
                <a:avLst>
                  <a:gd name="adj" fmla="val 8038"/>
                </a:avLst>
              </a:prstGeom>
              <a:blipFill>
                <a:blip r:embed="rId3"/>
                <a:srcRect/>
                <a:stretch>
                  <a:fillRect l="-9443" r="-9443"/>
                </a:stretch>
              </a:blipFill>
              <a:ln w="3175">
                <a:noFill/>
                <a:prstDash val="solid"/>
                <a:miter lim="800000"/>
                <a:headEnd/>
                <a:tailEnd/>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endParaRPr lang="zh-CN" altLang="en-US" kern="0" dirty="0">
                  <a:solidFill>
                    <a:srgbClr val="44546A">
                      <a:lumMod val="60000"/>
                      <a:lumOff val="40000"/>
                    </a:srgbClr>
                  </a:solidFill>
                </a:endParaRPr>
              </a:p>
            </p:txBody>
          </p:sp>
          <p:grpSp>
            <p:nvGrpSpPr>
              <p:cNvPr id="232" name="组合 231">
                <a:extLst>
                  <a:ext uri="{FF2B5EF4-FFF2-40B4-BE49-F238E27FC236}">
                    <a16:creationId xmlns:a16="http://schemas.microsoft.com/office/drawing/2014/main" xmlns:p14="http://schemas.microsoft.com/office/powerpoint/2010/main" xmlns:a14="http://schemas.microsoft.com/office/drawing/2010/main" xmlns="" id="{E2391124-F265-4DB1-8229-74D602D19143}"/>
                  </a:ext>
                </a:extLst>
              </p:cNvPr>
              <p:cNvGrpSpPr/>
              <p:nvPr/>
            </p:nvGrpSpPr>
            <p:grpSpPr>
              <a:xfrm>
                <a:off x="2634832" y="3294045"/>
                <a:ext cx="1100120" cy="587141"/>
                <a:chOff x="1703214" y="3185928"/>
                <a:chExt cx="582258" cy="521425"/>
              </a:xfrm>
            </p:grpSpPr>
            <p:sp>
              <p:nvSpPr>
                <p:cNvPr id="233" name="矩形 232">
                  <a:extLst>
                    <a:ext uri="{FF2B5EF4-FFF2-40B4-BE49-F238E27FC236}">
                      <a16:creationId xmlns:a16="http://schemas.microsoft.com/office/drawing/2014/main" xmlns:p14="http://schemas.microsoft.com/office/powerpoint/2010/main" xmlns:a14="http://schemas.microsoft.com/office/drawing/2010/main" xmlns="" id="{C24C1FF5-F911-419A-917D-EE3BC6FF1575}"/>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4" name="矩形 233">
                  <a:extLst>
                    <a:ext uri="{FF2B5EF4-FFF2-40B4-BE49-F238E27FC236}">
                      <a16:creationId xmlns:a16="http://schemas.microsoft.com/office/drawing/2014/main" xmlns:p14="http://schemas.microsoft.com/office/powerpoint/2010/main" xmlns:a14="http://schemas.microsoft.com/office/drawing/2010/main" xmlns="" id="{B1784DD8-9CF9-4CAD-AAE1-28E2859DB9ED}"/>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5" name="矩形 234">
                  <a:extLst>
                    <a:ext uri="{FF2B5EF4-FFF2-40B4-BE49-F238E27FC236}">
                      <a16:creationId xmlns:a16="http://schemas.microsoft.com/office/drawing/2014/main" xmlns:p14="http://schemas.microsoft.com/office/powerpoint/2010/main" xmlns:a14="http://schemas.microsoft.com/office/drawing/2010/main" xmlns="" id="{FFF26157-FF7D-42F5-8741-B0B5675BACE1}"/>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sp>
        <p:nvSpPr>
          <p:cNvPr id="2" name="标题 1">
            <a:extLst>
              <a:ext uri="{FF2B5EF4-FFF2-40B4-BE49-F238E27FC236}">
                <a16:creationId xmlns:a16="http://schemas.microsoft.com/office/drawing/2014/main" xmlns:p14="http://schemas.microsoft.com/office/powerpoint/2010/main" xmlns:a14="http://schemas.microsoft.com/office/drawing/2010/main" xmlns="" id="{02F5592C-255D-433F-8125-698E99B5A828}"/>
              </a:ext>
            </a:extLst>
          </p:cNvPr>
          <p:cNvSpPr txBox="1">
            <a:spLocks/>
          </p:cNvSpPr>
          <p:nvPr/>
        </p:nvSpPr>
        <p:spPr>
          <a:xfrm>
            <a:off x="660400" y="0"/>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填充图示中的图片  </a:t>
            </a:r>
            <a:r>
              <a:rPr lang="en-US" altLang="zh-CN" sz="2800" b="1" dirty="0"/>
              <a:t>Fill Pictures </a:t>
            </a:r>
            <a:r>
              <a:rPr lang="en-US" altLang="zh-CN" sz="2800" b="1"/>
              <a:t>in </a:t>
            </a:r>
            <a:r>
              <a:rPr lang="en-US" altLang="zh-CN" sz="2800" b="1" smtClean="0"/>
              <a:t>D</a:t>
            </a:r>
            <a:r>
              <a:rPr lang="en-US" altLang="zh-CN" sz="100" b="1" smtClean="0"/>
              <a:t> </a:t>
            </a:r>
            <a:r>
              <a:rPr lang="en-US" altLang="zh-CN" sz="2800" b="1" smtClean="0"/>
              <a:t>iagram</a:t>
            </a:r>
            <a:endParaRPr lang="zh-CN" altLang="en-US" sz="2800" b="1" dirty="0"/>
          </a:p>
        </p:txBody>
      </p:sp>
      <p:sp>
        <p:nvSpPr>
          <p:cNvPr id="4" name="矩形 3">
            <a:extLst>
              <a:ext uri="{FF2B5EF4-FFF2-40B4-BE49-F238E27FC236}">
                <a16:creationId xmlns:a16="http://schemas.microsoft.com/office/drawing/2014/main" xmlns:p14="http://schemas.microsoft.com/office/powerpoint/2010/main" xmlns:a14="http://schemas.microsoft.com/office/drawing/2010/main" xmlns="" id="{E43AC282-26A4-4B89-9254-20067634254A}"/>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内</a:t>
            </a:r>
            <a:r>
              <a:rPr lang="zh-CN" altLang="en-US" sz="800">
                <a:solidFill>
                  <a:schemeClr val="bg1"/>
                </a:solidFill>
              </a:rPr>
              <a:t>容</a:t>
            </a:r>
            <a:r>
              <a:rPr lang="zh-CN" altLang="en-US" sz="800" smtClean="0">
                <a:solidFill>
                  <a:schemeClr val="bg1"/>
                </a:solidFill>
              </a:rPr>
              <a:t>。</a:t>
            </a:r>
            <a:r>
              <a:rPr lang="zh-CN" altLang="en-US" sz="100" smtClean="0">
                <a:solidFill>
                  <a:schemeClr val="bg1"/>
                </a:solidFill>
              </a:rPr>
              <a:t> </a:t>
            </a:r>
            <a:endParaRPr lang="zh-CN" altLang="en-US" sz="100" dirty="0">
              <a:solidFill>
                <a:schemeClr val="bg1"/>
              </a:solidFill>
            </a:endParaRPr>
          </a:p>
          <a:p>
            <a:pPr>
              <a:lnSpc>
                <a:spcPct val="120000"/>
              </a:lnSpc>
            </a:pPr>
            <a:r>
              <a:rPr lang="en-US" altLang="zh-CN" sz="800" dirty="0">
                <a:solidFill>
                  <a:schemeClr val="bg1"/>
                </a:solidFill>
              </a:rPr>
              <a:t>This slide is an instruction. Please delete this slide before using it for presentation.</a:t>
            </a:r>
          </a:p>
        </p:txBody>
      </p:sp>
    </p:spTree>
    <p:custDataLst>
      <p:tags r:id="rId1"/>
    </p:custDataLst>
    <p:extLst>
      <p:ext uri="{BB962C8B-B14F-4D97-AF65-F5344CB8AC3E}">
        <p14:creationId xmlns:p14="http://schemas.microsoft.com/office/powerpoint/2010/main" val="32998908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2" name="组合 11">
            <a:extLst>
              <a:ext uri="{FF2B5EF4-FFF2-40B4-BE49-F238E27FC236}">
                <a16:creationId xmlns:a16="http://schemas.microsoft.com/office/drawing/2014/main" xmlns:p14="http://schemas.microsoft.com/office/powerpoint/2010/main" xmlns:a14="http://schemas.microsoft.com/office/drawing/2010/main" xmlns="" id="{5F6B81AB-CE69-4C9D-8320-3B89A6421073}"/>
              </a:ext>
            </a:extLst>
          </p:cNvPr>
          <p:cNvGrpSpPr/>
          <p:nvPr/>
        </p:nvGrpSpPr>
        <p:grpSpPr>
          <a:xfrm>
            <a:off x="660400" y="5387492"/>
            <a:ext cx="3493913" cy="553998"/>
            <a:chOff x="673100" y="5387492"/>
            <a:chExt cx="3493913" cy="553998"/>
          </a:xfrm>
        </p:grpSpPr>
        <p:sp>
          <p:nvSpPr>
            <p:cNvPr id="351" name="文本框 350"/>
            <p:cNvSpPr txBox="1"/>
            <p:nvPr/>
          </p:nvSpPr>
          <p:spPr>
            <a:xfrm>
              <a:off x="994562" y="5387492"/>
              <a:ext cx="3172451" cy="553998"/>
            </a:xfrm>
            <a:prstGeom prst="rect">
              <a:avLst/>
            </a:prstGeom>
            <a:noFill/>
          </p:spPr>
          <p:txBody>
            <a:bodyPr wrap="square" rtlCol="0" anchor="ctr">
              <a:spAutoFit/>
            </a:bodyPr>
            <a:lstStyle/>
            <a:p>
              <a:r>
                <a:rPr lang="zh-CN" altLang="en-US" sz="1000" dirty="0">
                  <a:solidFill>
                    <a:srgbClr val="2F2F2F"/>
                  </a:solidFill>
                </a:rPr>
                <a:t>解除组合，选中图示中的插图</a:t>
              </a:r>
              <a:endParaRPr lang="en-US" altLang="zh-CN" sz="1000" dirty="0">
                <a:solidFill>
                  <a:srgbClr val="2F2F2F"/>
                </a:solidFill>
              </a:endParaRPr>
            </a:p>
            <a:p>
              <a:r>
                <a:rPr lang="en-US" altLang="zh-CN" sz="1000" smtClean="0">
                  <a:solidFill>
                    <a:srgbClr val="2F2F2F"/>
                  </a:solidFill>
                </a:rPr>
                <a:t>Ung</a:t>
              </a:r>
              <a:r>
                <a:rPr lang="en-US" altLang="zh-CN" sz="100" smtClean="0">
                  <a:solidFill>
                    <a:srgbClr val="2F2F2F"/>
                  </a:solidFill>
                </a:rPr>
                <a:t> </a:t>
              </a:r>
              <a:r>
                <a:rPr lang="en-US" altLang="zh-CN" sz="1000" smtClean="0">
                  <a:solidFill>
                    <a:srgbClr val="2F2F2F"/>
                  </a:solidFill>
                </a:rPr>
                <a:t>roup </a:t>
              </a:r>
              <a:r>
                <a:rPr lang="en-US" altLang="zh-CN" sz="1000" dirty="0">
                  <a:solidFill>
                    <a:srgbClr val="2F2F2F"/>
                  </a:solidFill>
                </a:rPr>
                <a:t>the diagram and select the shape that needs to be replaced</a:t>
              </a:r>
              <a:endParaRPr lang="zh-CN" altLang="en-US" sz="1000" dirty="0">
                <a:solidFill>
                  <a:srgbClr val="2F2F2F"/>
                </a:solidFill>
              </a:endParaRPr>
            </a:p>
          </p:txBody>
        </p:sp>
        <p:sp>
          <p:nvSpPr>
            <p:cNvPr id="350" name="椭圆 349"/>
            <p:cNvSpPr/>
            <p:nvPr/>
          </p:nvSpPr>
          <p:spPr>
            <a:xfrm>
              <a:off x="673100"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grpSp>
      <p:sp>
        <p:nvSpPr>
          <p:cNvPr id="890" name="Right Arrow 16">
            <a:extLst>
              <a:ext uri="{FF2B5EF4-FFF2-40B4-BE49-F238E27FC236}">
                <a16:creationId xmlns:a16="http://schemas.microsoft.com/office/drawing/2014/main" xmlns:p14="http://schemas.microsoft.com/office/powerpoint/2010/main" xmlns:a14="http://schemas.microsoft.com/office/drawing/2010/main" xmlns="" id="{C18997BC-8A46-4480-BDE2-8A42CE9D6E96}"/>
              </a:ext>
            </a:extLst>
          </p:cNvPr>
          <p:cNvSpPr/>
          <p:nvPr/>
        </p:nvSpPr>
        <p:spPr>
          <a:xfrm>
            <a:off x="4284308"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13" name="文本框 612">
            <a:extLst>
              <a:ext uri="{FF2B5EF4-FFF2-40B4-BE49-F238E27FC236}">
                <a16:creationId xmlns:a16="http://schemas.microsoft.com/office/drawing/2014/main" xmlns:p14="http://schemas.microsoft.com/office/powerpoint/2010/main" xmlns:a14="http://schemas.microsoft.com/office/drawing/2010/main" xmlns="" id="{8AD2200D-CA44-4767-84EF-C1856654B4FA}"/>
              </a:ext>
            </a:extLst>
          </p:cNvPr>
          <p:cNvSpPr txBox="1"/>
          <p:nvPr/>
        </p:nvSpPr>
        <p:spPr>
          <a:xfrm>
            <a:off x="4916703" y="5387482"/>
            <a:ext cx="2558947" cy="553998"/>
          </a:xfrm>
          <a:prstGeom prst="rect">
            <a:avLst/>
          </a:prstGeom>
          <a:noFill/>
        </p:spPr>
        <p:txBody>
          <a:bodyPr wrap="square" rtlCol="0" anchor="ctr">
            <a:spAutoFit/>
          </a:bodyPr>
          <a:lstStyle/>
          <a:p>
            <a:r>
              <a:rPr lang="zh-CN" altLang="en-US" sz="1000" dirty="0">
                <a:solidFill>
                  <a:srgbClr val="2F2F2F"/>
                </a:solidFill>
              </a:rPr>
              <a:t>点击 </a:t>
            </a:r>
            <a:r>
              <a:rPr lang="en-US" altLang="zh-CN" sz="1000" dirty="0">
                <a:solidFill>
                  <a:srgbClr val="2F2F2F"/>
                </a:solidFill>
              </a:rPr>
              <a:t>iSlide【</a:t>
            </a:r>
            <a:r>
              <a:rPr lang="zh-CN" altLang="en-US" sz="1000" dirty="0">
                <a:solidFill>
                  <a:srgbClr val="2F2F2F"/>
                </a:solidFill>
              </a:rPr>
              <a:t>插图库</a:t>
            </a:r>
            <a:r>
              <a:rPr lang="en-US" altLang="zh-CN" sz="1000" dirty="0">
                <a:solidFill>
                  <a:srgbClr val="2F2F2F"/>
                </a:solidFill>
              </a:rPr>
              <a:t>】</a:t>
            </a:r>
            <a:r>
              <a:rPr lang="zh-CN" altLang="en-US" sz="1000" dirty="0">
                <a:solidFill>
                  <a:srgbClr val="2F2F2F"/>
                </a:solidFill>
              </a:rPr>
              <a:t>中的插图替换</a:t>
            </a:r>
            <a:endParaRPr lang="en-US" altLang="zh-CN" sz="1000" dirty="0">
              <a:solidFill>
                <a:srgbClr val="2F2F2F"/>
              </a:solidFill>
            </a:endParaRPr>
          </a:p>
          <a:p>
            <a:r>
              <a:rPr lang="en-US" altLang="zh-CN" sz="100" smtClean="0">
                <a:solidFill>
                  <a:srgbClr val="2F2F2F"/>
                </a:solidFill>
              </a:rPr>
              <a:t> </a:t>
            </a:r>
            <a:r>
              <a:rPr lang="en-US" altLang="zh-CN" sz="1000" smtClean="0">
                <a:solidFill>
                  <a:srgbClr val="2F2F2F"/>
                </a:solidFill>
              </a:rPr>
              <a:t>Click </a:t>
            </a:r>
            <a:r>
              <a:rPr lang="en-US" altLang="zh-CN" sz="1000" dirty="0">
                <a:solidFill>
                  <a:srgbClr val="2F2F2F"/>
                </a:solidFill>
              </a:rPr>
              <a:t>the target vector in iSlide “Vector Library” to insert it into the diagram</a:t>
            </a:r>
            <a:endParaRPr lang="zh-CN" altLang="en-US" sz="1000" dirty="0">
              <a:solidFill>
                <a:srgbClr val="2F2F2F"/>
              </a:solidFill>
            </a:endParaRPr>
          </a:p>
        </p:txBody>
      </p:sp>
      <p:sp>
        <p:nvSpPr>
          <p:cNvPr id="614" name="椭圆 613">
            <a:extLst>
              <a:ext uri="{FF2B5EF4-FFF2-40B4-BE49-F238E27FC236}">
                <a16:creationId xmlns:a16="http://schemas.microsoft.com/office/drawing/2014/main" xmlns:p14="http://schemas.microsoft.com/office/powerpoint/2010/main" xmlns:a14="http://schemas.microsoft.com/office/drawing/2010/main" xmlns="" id="{0EF98DBB-FD28-4F75-8C30-91D37F4F411F}"/>
              </a:ext>
            </a:extLst>
          </p:cNvPr>
          <p:cNvSpPr/>
          <p:nvPr/>
        </p:nvSpPr>
        <p:spPr>
          <a:xfrm>
            <a:off x="4595244"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sp>
        <p:nvSpPr>
          <p:cNvPr id="891" name="Right Arrow 751">
            <a:extLst>
              <a:ext uri="{FF2B5EF4-FFF2-40B4-BE49-F238E27FC236}">
                <a16:creationId xmlns:a16="http://schemas.microsoft.com/office/drawing/2014/main" xmlns:p14="http://schemas.microsoft.com/office/powerpoint/2010/main" xmlns:a14="http://schemas.microsoft.com/office/drawing/2010/main" xmlns="" id="{262E38B2-0226-44BA-9105-CB532FA15FCA}"/>
              </a:ext>
            </a:extLst>
          </p:cNvPr>
          <p:cNvSpPr/>
          <p:nvPr/>
        </p:nvSpPr>
        <p:spPr>
          <a:xfrm>
            <a:off x="7720845"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53" name="文本框 752">
            <a:extLst>
              <a:ext uri="{FF2B5EF4-FFF2-40B4-BE49-F238E27FC236}">
                <a16:creationId xmlns:a16="http://schemas.microsoft.com/office/drawing/2014/main" xmlns:p14="http://schemas.microsoft.com/office/powerpoint/2010/main" xmlns:a14="http://schemas.microsoft.com/office/drawing/2010/main" xmlns="" id="{64E2827D-DD54-493E-8009-F97E8BD7C996}"/>
              </a:ext>
            </a:extLst>
          </p:cNvPr>
          <p:cNvSpPr txBox="1"/>
          <p:nvPr/>
        </p:nvSpPr>
        <p:spPr>
          <a:xfrm>
            <a:off x="8346455" y="5464436"/>
            <a:ext cx="3174039" cy="400110"/>
          </a:xfrm>
          <a:prstGeom prst="rect">
            <a:avLst/>
          </a:prstGeom>
          <a:noFill/>
        </p:spPr>
        <p:txBody>
          <a:bodyPr wrap="square" rtlCol="0" anchor="ctr">
            <a:spAutoFit/>
          </a:bodyPr>
          <a:lstStyle/>
          <a:p>
            <a:r>
              <a:rPr lang="zh-CN" altLang="en-US" sz="1000" smtClean="0">
                <a:solidFill>
                  <a:srgbClr val="2F2F2F"/>
                </a:solidFill>
              </a:rPr>
              <a:t>替</a:t>
            </a:r>
            <a:r>
              <a:rPr lang="zh-CN" altLang="en-US" sz="100" smtClean="0">
                <a:solidFill>
                  <a:srgbClr val="2F2F2F"/>
                </a:solidFill>
              </a:rPr>
              <a:t> </a:t>
            </a:r>
            <a:r>
              <a:rPr lang="zh-CN" altLang="en-US" sz="1000" smtClean="0">
                <a:solidFill>
                  <a:srgbClr val="2F2F2F"/>
                </a:solidFill>
              </a:rPr>
              <a:t>换</a:t>
            </a:r>
            <a:r>
              <a:rPr lang="zh-CN" altLang="en-US" sz="1000" dirty="0">
                <a:solidFill>
                  <a:srgbClr val="2F2F2F"/>
                </a:solidFill>
              </a:rPr>
              <a:t>成功</a:t>
            </a:r>
            <a:endParaRPr lang="en-US" altLang="zh-CN" sz="1000" dirty="0">
              <a:solidFill>
                <a:srgbClr val="2F2F2F"/>
              </a:solidFill>
            </a:endParaRPr>
          </a:p>
          <a:p>
            <a:r>
              <a:rPr lang="en-US" altLang="zh-CN" sz="1000" dirty="0">
                <a:solidFill>
                  <a:srgbClr val="2F2F2F"/>
                </a:solidFill>
              </a:rPr>
              <a:t>Done</a:t>
            </a:r>
            <a:endParaRPr lang="zh-CN" altLang="en-US" sz="1000" dirty="0">
              <a:solidFill>
                <a:srgbClr val="2F2F2F"/>
              </a:solidFill>
            </a:endParaRPr>
          </a:p>
        </p:txBody>
      </p:sp>
      <p:sp>
        <p:nvSpPr>
          <p:cNvPr id="754" name="椭圆 753">
            <a:extLst>
              <a:ext uri="{FF2B5EF4-FFF2-40B4-BE49-F238E27FC236}">
                <a16:creationId xmlns:a16="http://schemas.microsoft.com/office/drawing/2014/main" xmlns:p14="http://schemas.microsoft.com/office/powerpoint/2010/main" xmlns:a14="http://schemas.microsoft.com/office/drawing/2010/main" xmlns="" id="{2CAE1083-0567-4F35-9DA3-912D7BA86E08}"/>
              </a:ext>
            </a:extLst>
          </p:cNvPr>
          <p:cNvSpPr/>
          <p:nvPr/>
        </p:nvSpPr>
        <p:spPr>
          <a:xfrm>
            <a:off x="8024992" y="5526321"/>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3</a:t>
            </a:r>
            <a:endParaRPr lang="zh-CN" altLang="en-US" sz="1200" dirty="0"/>
          </a:p>
        </p:txBody>
      </p:sp>
      <p:grpSp>
        <p:nvGrpSpPr>
          <p:cNvPr id="13" name="组合 12">
            <a:extLst>
              <a:ext uri="{FF2B5EF4-FFF2-40B4-BE49-F238E27FC236}">
                <a16:creationId xmlns:a16="http://schemas.microsoft.com/office/drawing/2014/main" xmlns:p14="http://schemas.microsoft.com/office/powerpoint/2010/main" xmlns:a14="http://schemas.microsoft.com/office/drawing/2010/main" xmlns="" id="{D81B7CF2-C7AA-46F9-ACA8-EBB3BF1C5334}"/>
              </a:ext>
            </a:extLst>
          </p:cNvPr>
          <p:cNvGrpSpPr/>
          <p:nvPr/>
        </p:nvGrpSpPr>
        <p:grpSpPr>
          <a:xfrm>
            <a:off x="4588450" y="1963867"/>
            <a:ext cx="3002400" cy="3200416"/>
            <a:chOff x="4595239" y="1963866"/>
            <a:chExt cx="3002400" cy="3200416"/>
          </a:xfrm>
        </p:grpSpPr>
        <p:sp>
          <p:nvSpPr>
            <p:cNvPr id="302" name="矩形 301">
              <a:extLst>
                <a:ext uri="{FF2B5EF4-FFF2-40B4-BE49-F238E27FC236}">
                  <a16:creationId xmlns:a16="http://schemas.microsoft.com/office/drawing/2014/main" xmlns:p14="http://schemas.microsoft.com/office/powerpoint/2010/main" xmlns:a14="http://schemas.microsoft.com/office/drawing/2010/main" xmlns="" id="{EB95F60D-A0A5-4CA6-84FF-3A5E2CC59F42}"/>
                </a:ext>
              </a:extLst>
            </p:cNvPr>
            <p:cNvSpPr/>
            <p:nvPr/>
          </p:nvSpPr>
          <p:spPr>
            <a:xfrm>
              <a:off x="4595239" y="196386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53" name="组合 152">
              <a:extLst>
                <a:ext uri="{FF2B5EF4-FFF2-40B4-BE49-F238E27FC236}">
                  <a16:creationId xmlns:a16="http://schemas.microsoft.com/office/drawing/2014/main" xmlns:p14="http://schemas.microsoft.com/office/powerpoint/2010/main" xmlns:a14="http://schemas.microsoft.com/office/drawing/2010/main" xmlns="" id="{A63C04F4-C358-4500-9952-9EF5BBBE121E}"/>
                </a:ext>
              </a:extLst>
            </p:cNvPr>
            <p:cNvGrpSpPr/>
            <p:nvPr/>
          </p:nvGrpSpPr>
          <p:grpSpPr>
            <a:xfrm>
              <a:off x="4706067" y="2686508"/>
              <a:ext cx="2780745" cy="2477774"/>
              <a:chOff x="5543523" y="3950927"/>
              <a:chExt cx="2485245" cy="2214470"/>
            </a:xfrm>
            <a:solidFill>
              <a:srgbClr val="E7E5EA"/>
            </a:solidFill>
          </p:grpSpPr>
          <p:sp>
            <p:nvSpPr>
              <p:cNvPr id="154" name="矩形: 圆角 153">
                <a:extLst>
                  <a:ext uri="{FF2B5EF4-FFF2-40B4-BE49-F238E27FC236}">
                    <a16:creationId xmlns:a16="http://schemas.microsoft.com/office/drawing/2014/main" xmlns:p14="http://schemas.microsoft.com/office/powerpoint/2010/main" xmlns:a14="http://schemas.microsoft.com/office/drawing/2010/main" xmlns="" id="{F6ABABC0-F43F-4F7C-A81E-B32B79EAE147}"/>
                  </a:ext>
                </a:extLst>
              </p:cNvPr>
              <p:cNvSpPr>
                <a:spLocks noChangeAspect="1"/>
              </p:cNvSpPr>
              <p:nvPr/>
            </p:nvSpPr>
            <p:spPr>
              <a:xfrm>
                <a:off x="5543523" y="3950927"/>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5" name="矩形: 圆角 154">
                <a:extLst>
                  <a:ext uri="{FF2B5EF4-FFF2-40B4-BE49-F238E27FC236}">
                    <a16:creationId xmlns:a16="http://schemas.microsoft.com/office/drawing/2014/main" xmlns:p14="http://schemas.microsoft.com/office/powerpoint/2010/main" xmlns:a14="http://schemas.microsoft.com/office/drawing/2010/main" xmlns="" id="{EF1FB13C-2546-480B-A3F8-637DD57A2E9A}"/>
                  </a:ext>
                </a:extLst>
              </p:cNvPr>
              <p:cNvSpPr>
                <a:spLocks noChangeAspect="1"/>
              </p:cNvSpPr>
              <p:nvPr/>
            </p:nvSpPr>
            <p:spPr>
              <a:xfrm>
                <a:off x="5543523" y="4723706"/>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6" name="矩形: 圆角 155">
                <a:extLst>
                  <a:ext uri="{FF2B5EF4-FFF2-40B4-BE49-F238E27FC236}">
                    <a16:creationId xmlns:a16="http://schemas.microsoft.com/office/drawing/2014/main" xmlns:p14="http://schemas.microsoft.com/office/powerpoint/2010/main" xmlns:a14="http://schemas.microsoft.com/office/drawing/2010/main" xmlns="" id="{BC5AD51A-7A84-49B0-B8D0-BFC3CEC38872}"/>
                  </a:ext>
                </a:extLst>
              </p:cNvPr>
              <p:cNvSpPr>
                <a:spLocks noChangeAspect="1"/>
              </p:cNvSpPr>
              <p:nvPr/>
            </p:nvSpPr>
            <p:spPr>
              <a:xfrm>
                <a:off x="5543523"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7" name="矩形: 圆角 156">
                <a:extLst>
                  <a:ext uri="{FF2B5EF4-FFF2-40B4-BE49-F238E27FC236}">
                    <a16:creationId xmlns:a16="http://schemas.microsoft.com/office/drawing/2014/main" xmlns:p14="http://schemas.microsoft.com/office/powerpoint/2010/main" xmlns:a14="http://schemas.microsoft.com/office/drawing/2010/main" xmlns="" id="{20717845-5E08-43BB-B73D-0D6866386EE2}"/>
                  </a:ext>
                </a:extLst>
              </p:cNvPr>
              <p:cNvSpPr>
                <a:spLocks noChangeAspect="1"/>
              </p:cNvSpPr>
              <p:nvPr/>
            </p:nvSpPr>
            <p:spPr>
              <a:xfrm>
                <a:off x="6839591"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8" name="矩形: 圆角 157">
                <a:extLst>
                  <a:ext uri="{FF2B5EF4-FFF2-40B4-BE49-F238E27FC236}">
                    <a16:creationId xmlns:a16="http://schemas.microsoft.com/office/drawing/2014/main" xmlns:p14="http://schemas.microsoft.com/office/powerpoint/2010/main" xmlns:a14="http://schemas.microsoft.com/office/drawing/2010/main" xmlns="" id="{04273410-3874-4C71-9C4E-4D25FA658C6F}"/>
                  </a:ext>
                </a:extLst>
              </p:cNvPr>
              <p:cNvSpPr>
                <a:spLocks noChangeAspect="1"/>
              </p:cNvSpPr>
              <p:nvPr/>
            </p:nvSpPr>
            <p:spPr>
              <a:xfrm>
                <a:off x="6839591" y="4723706"/>
                <a:ext cx="1189177" cy="668912"/>
              </a:xfrm>
              <a:prstGeom prst="roundRect">
                <a:avLst>
                  <a:gd name="adj" fmla="val 4418"/>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60" name="矩形: 圆角 159">
                <a:extLst>
                  <a:ext uri="{FF2B5EF4-FFF2-40B4-BE49-F238E27FC236}">
                    <a16:creationId xmlns:a16="http://schemas.microsoft.com/office/drawing/2014/main" xmlns:p14="http://schemas.microsoft.com/office/powerpoint/2010/main" xmlns:a14="http://schemas.microsoft.com/office/drawing/2010/main" xmlns="" id="{4491213B-312B-4965-A8AF-91558B9C4872}"/>
                  </a:ext>
                </a:extLst>
              </p:cNvPr>
              <p:cNvSpPr>
                <a:spLocks noChangeAspect="1"/>
              </p:cNvSpPr>
              <p:nvPr/>
            </p:nvSpPr>
            <p:spPr>
              <a:xfrm>
                <a:off x="6839591" y="3950927"/>
                <a:ext cx="1189177" cy="668912"/>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5" name="组合 4">
              <a:extLst>
                <a:ext uri="{FF2B5EF4-FFF2-40B4-BE49-F238E27FC236}">
                  <a16:creationId xmlns:a16="http://schemas.microsoft.com/office/drawing/2014/main" xmlns:p14="http://schemas.microsoft.com/office/powerpoint/2010/main" xmlns:a14="http://schemas.microsoft.com/office/drawing/2010/main" xmlns="" id="{6771DD05-1958-4BBA-A29F-081CA2709801}"/>
                </a:ext>
              </a:extLst>
            </p:cNvPr>
            <p:cNvGrpSpPr/>
            <p:nvPr/>
          </p:nvGrpSpPr>
          <p:grpSpPr>
            <a:xfrm>
              <a:off x="4595239" y="1963866"/>
              <a:ext cx="3002400" cy="320240"/>
              <a:chOff x="8616223" y="1963866"/>
              <a:chExt cx="3002400" cy="320240"/>
            </a:xfrm>
          </p:grpSpPr>
          <p:sp>
            <p:nvSpPr>
              <p:cNvPr id="304" name="矩形 303">
                <a:extLst>
                  <a:ext uri="{FF2B5EF4-FFF2-40B4-BE49-F238E27FC236}">
                    <a16:creationId xmlns:a16="http://schemas.microsoft.com/office/drawing/2014/main" xmlns:p14="http://schemas.microsoft.com/office/powerpoint/2010/main" xmlns:a14="http://schemas.microsoft.com/office/drawing/2010/main" xmlns="" id="{7398D68E-9E0E-4C67-8760-46BFB1A0317C}"/>
                  </a:ext>
                </a:extLst>
              </p:cNvPr>
              <p:cNvSpPr/>
              <p:nvPr/>
            </p:nvSpPr>
            <p:spPr>
              <a:xfrm>
                <a:off x="8616223" y="1963866"/>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306" name="Multiply 213">
                <a:extLst>
                  <a:ext uri="{FF2B5EF4-FFF2-40B4-BE49-F238E27FC236}">
                    <a16:creationId xmlns:a16="http://schemas.microsoft.com/office/drawing/2014/main" xmlns:p14="http://schemas.microsoft.com/office/powerpoint/2010/main" xmlns:a14="http://schemas.microsoft.com/office/drawing/2010/main" xmlns="" id="{43E705A9-8DE1-4719-A1A7-37B0C64B2F5A}"/>
                  </a:ext>
                </a:extLst>
              </p:cNvPr>
              <p:cNvSpPr>
                <a:spLocks noChangeAspect="1"/>
              </p:cNvSpPr>
              <p:nvPr/>
            </p:nvSpPr>
            <p:spPr>
              <a:xfrm>
                <a:off x="11404732" y="2067944"/>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sp>
          <p:nvSpPr>
            <p:cNvPr id="332" name="矩形 331">
              <a:extLst>
                <a:ext uri="{FF2B5EF4-FFF2-40B4-BE49-F238E27FC236}">
                  <a16:creationId xmlns:a16="http://schemas.microsoft.com/office/drawing/2014/main" xmlns:p14="http://schemas.microsoft.com/office/powerpoint/2010/main" xmlns:a14="http://schemas.microsoft.com/office/drawing/2010/main" xmlns="" id="{45B452B5-600E-402C-A6E0-97D72A78CA3F}"/>
                </a:ext>
              </a:extLst>
            </p:cNvPr>
            <p:cNvSpPr/>
            <p:nvPr/>
          </p:nvSpPr>
          <p:spPr>
            <a:xfrm>
              <a:off x="4715292" y="2038873"/>
              <a:ext cx="1548011" cy="153888"/>
            </a:xfrm>
            <a:prstGeom prst="rect">
              <a:avLst/>
            </a:prstGeom>
          </p:spPr>
          <p:txBody>
            <a:bodyPr wrap="squar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r>
                <a:rPr lang="zh-CN" altLang="en-US" sz="1000" kern="0" smtClean="0">
                  <a:solidFill>
                    <a:srgbClr val="FFFFFF"/>
                  </a:solidFill>
                </a:rPr>
                <a:t>插</a:t>
              </a:r>
              <a:r>
                <a:rPr lang="zh-CN" altLang="en-US" sz="100" kern="0" smtClean="0">
                  <a:solidFill>
                    <a:srgbClr val="FFFFFF"/>
                  </a:solidFill>
                </a:rPr>
                <a:t> </a:t>
              </a:r>
              <a:r>
                <a:rPr lang="zh-CN" altLang="en-US" sz="1000" kern="0" smtClean="0">
                  <a:solidFill>
                    <a:srgbClr val="FFFFFF"/>
                  </a:solidFill>
                </a:rPr>
                <a:t>图</a:t>
              </a:r>
              <a:r>
                <a:rPr lang="zh-CN" altLang="en-US" sz="1000" kern="0" dirty="0">
                  <a:solidFill>
                    <a:srgbClr val="FFFFFF"/>
                  </a:solidFill>
                </a:rPr>
                <a:t>库 </a:t>
              </a:r>
              <a:r>
                <a:rPr lang="en-US" altLang="zh-CN" sz="1000" kern="0" dirty="0">
                  <a:solidFill>
                    <a:srgbClr val="FFFFFF"/>
                  </a:solidFill>
                </a:rPr>
                <a:t>/ Vector Library</a:t>
              </a:r>
              <a:endParaRPr lang="zh-CN" altLang="en-US" sz="1000" kern="0" dirty="0">
                <a:solidFill>
                  <a:srgbClr val="FFFFFF"/>
                </a:solidFill>
              </a:endParaRPr>
            </a:p>
          </p:txBody>
        </p:sp>
        <p:grpSp>
          <p:nvGrpSpPr>
            <p:cNvPr id="335" name="组合 334">
              <a:extLst>
                <a:ext uri="{FF2B5EF4-FFF2-40B4-BE49-F238E27FC236}">
                  <a16:creationId xmlns:a16="http://schemas.microsoft.com/office/drawing/2014/main" xmlns:p14="http://schemas.microsoft.com/office/powerpoint/2010/main" xmlns:a14="http://schemas.microsoft.com/office/drawing/2010/main" xmlns="" id="{CEBCA69B-D1BD-4ED3-8A2A-EB25AD703A2E}"/>
                </a:ext>
              </a:extLst>
            </p:cNvPr>
            <p:cNvGrpSpPr/>
            <p:nvPr/>
          </p:nvGrpSpPr>
          <p:grpSpPr>
            <a:xfrm>
              <a:off x="4715293" y="2404041"/>
              <a:ext cx="1638861" cy="160073"/>
              <a:chOff x="4248155" y="2141651"/>
              <a:chExt cx="1474301" cy="144000"/>
            </a:xfrm>
            <a:solidFill>
              <a:srgbClr val="E7E5EA"/>
            </a:solidFill>
          </p:grpSpPr>
          <p:sp>
            <p:nvSpPr>
              <p:cNvPr id="489" name="矩形 488">
                <a:extLst>
                  <a:ext uri="{FF2B5EF4-FFF2-40B4-BE49-F238E27FC236}">
                    <a16:creationId xmlns:a16="http://schemas.microsoft.com/office/drawing/2014/main" xmlns:p14="http://schemas.microsoft.com/office/powerpoint/2010/main" xmlns:a14="http://schemas.microsoft.com/office/drawing/2010/main" xmlns="" id="{0F78271F-C2BF-49C2-BC46-681981BE5043}"/>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0" name="矩形 489">
                <a:extLst>
                  <a:ext uri="{FF2B5EF4-FFF2-40B4-BE49-F238E27FC236}">
                    <a16:creationId xmlns:a16="http://schemas.microsoft.com/office/drawing/2014/main" xmlns:p14="http://schemas.microsoft.com/office/powerpoint/2010/main" xmlns:a14="http://schemas.microsoft.com/office/drawing/2010/main" xmlns="" id="{A3015197-78E9-42A1-B8A4-70DAA4C54124}"/>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1" name="矩形 490">
                <a:extLst>
                  <a:ext uri="{FF2B5EF4-FFF2-40B4-BE49-F238E27FC236}">
                    <a16:creationId xmlns:a16="http://schemas.microsoft.com/office/drawing/2014/main" xmlns:p14="http://schemas.microsoft.com/office/powerpoint/2010/main" xmlns:a14="http://schemas.microsoft.com/office/drawing/2010/main" xmlns="" id="{BBC16AC2-873F-45AE-B3C1-DA18A14F30AD}"/>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495" name="矩形 494">
                <a:extLst>
                  <a:ext uri="{FF2B5EF4-FFF2-40B4-BE49-F238E27FC236}">
                    <a16:creationId xmlns:a16="http://schemas.microsoft.com/office/drawing/2014/main" xmlns:p14="http://schemas.microsoft.com/office/powerpoint/2010/main" xmlns:a14="http://schemas.microsoft.com/office/drawing/2010/main" xmlns="" id="{9C5D8EE9-3878-48C8-9E66-C90EC64D4EC8}"/>
                  </a:ext>
                </a:extLst>
              </p:cNvPr>
              <p:cNvSpPr>
                <a:spLocks/>
              </p:cNvSpPr>
              <p:nvPr/>
            </p:nvSpPr>
            <p:spPr>
              <a:xfrm>
                <a:off x="5434456"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336" name="组合 335">
              <a:extLst>
                <a:ext uri="{FF2B5EF4-FFF2-40B4-BE49-F238E27FC236}">
                  <a16:creationId xmlns:a16="http://schemas.microsoft.com/office/drawing/2014/main" xmlns:p14="http://schemas.microsoft.com/office/powerpoint/2010/main" xmlns:a14="http://schemas.microsoft.com/office/drawing/2010/main" xmlns="" id="{9E841455-3E39-47E0-89F1-4A6589854638}"/>
                </a:ext>
              </a:extLst>
            </p:cNvPr>
            <p:cNvGrpSpPr/>
            <p:nvPr/>
          </p:nvGrpSpPr>
          <p:grpSpPr>
            <a:xfrm>
              <a:off x="6715511" y="2404041"/>
              <a:ext cx="761195" cy="160073"/>
              <a:chOff x="6047529" y="2141651"/>
              <a:chExt cx="684762" cy="144000"/>
            </a:xfrm>
            <a:solidFill>
              <a:srgbClr val="E7E5EA"/>
            </a:solidFill>
          </p:grpSpPr>
          <p:sp>
            <p:nvSpPr>
              <p:cNvPr id="487" name="矩形 486">
                <a:extLst>
                  <a:ext uri="{FF2B5EF4-FFF2-40B4-BE49-F238E27FC236}">
                    <a16:creationId xmlns:a16="http://schemas.microsoft.com/office/drawing/2014/main" xmlns:p14="http://schemas.microsoft.com/office/powerpoint/2010/main" xmlns:a14="http://schemas.microsoft.com/office/drawing/2010/main" xmlns="" id="{AAE592BD-4F78-41C6-A563-482A2416386F}"/>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88" name="矩形 487">
                <a:extLst>
                  <a:ext uri="{FF2B5EF4-FFF2-40B4-BE49-F238E27FC236}">
                    <a16:creationId xmlns:a16="http://schemas.microsoft.com/office/drawing/2014/main" xmlns:p14="http://schemas.microsoft.com/office/powerpoint/2010/main" xmlns:a14="http://schemas.microsoft.com/office/drawing/2010/main" xmlns="" id="{42C3DBA0-3D8A-43C4-BDE9-15381F8C0043}"/>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pic>
          <p:nvPicPr>
            <p:cNvPr id="3" name="图形 2">
              <a:extLst>
                <a:ext uri="{FF2B5EF4-FFF2-40B4-BE49-F238E27FC236}">
                  <a16:creationId xmlns:a16="http://schemas.microsoft.com/office/drawing/2014/main" xmlns:p14="http://schemas.microsoft.com/office/powerpoint/2010/main" xmlns:a14="http://schemas.microsoft.com/office/drawing/2010/main" xmlns="" id="{FB29E73C-E73F-4438-A526-FE94FF16031F}"/>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6354959" y="2791001"/>
              <a:ext cx="921528" cy="557932"/>
            </a:xfrm>
            <a:prstGeom prst="rect">
              <a:avLst/>
            </a:prstGeom>
          </p:spPr>
        </p:pic>
      </p:grpSp>
      <p:grpSp>
        <p:nvGrpSpPr>
          <p:cNvPr id="7" name="组合 6">
            <a:extLst>
              <a:ext uri="{FF2B5EF4-FFF2-40B4-BE49-F238E27FC236}">
                <a16:creationId xmlns:a16="http://schemas.microsoft.com/office/drawing/2014/main" xmlns:p14="http://schemas.microsoft.com/office/powerpoint/2010/main" xmlns:a14="http://schemas.microsoft.com/office/drawing/2010/main" xmlns="" id="{09D0D9AA-EB60-4923-BEF0-22333512DE9F}"/>
              </a:ext>
            </a:extLst>
          </p:cNvPr>
          <p:cNvGrpSpPr/>
          <p:nvPr/>
        </p:nvGrpSpPr>
        <p:grpSpPr>
          <a:xfrm>
            <a:off x="8024987" y="1959178"/>
            <a:ext cx="3493913" cy="2403813"/>
            <a:chOff x="8024986" y="1959176"/>
            <a:chExt cx="3493913" cy="2403813"/>
          </a:xfrm>
        </p:grpSpPr>
        <p:grpSp>
          <p:nvGrpSpPr>
            <p:cNvPr id="228" name="组合 227">
              <a:extLst>
                <a:ext uri="{FF2B5EF4-FFF2-40B4-BE49-F238E27FC236}">
                  <a16:creationId xmlns:a16="http://schemas.microsoft.com/office/drawing/2014/main" xmlns:p14="http://schemas.microsoft.com/office/powerpoint/2010/main" xmlns:a14="http://schemas.microsoft.com/office/drawing/2010/main" xmlns="" id="{F07805C6-3B6B-4AF9-9448-282317B3FEB6}"/>
                </a:ext>
              </a:extLst>
            </p:cNvPr>
            <p:cNvGrpSpPr/>
            <p:nvPr/>
          </p:nvGrpSpPr>
          <p:grpSpPr>
            <a:xfrm>
              <a:off x="8024986" y="1959176"/>
              <a:ext cx="3493913" cy="2403813"/>
              <a:chOff x="8024986" y="1959176"/>
              <a:chExt cx="3493913" cy="2403813"/>
            </a:xfrm>
          </p:grpSpPr>
          <p:sp>
            <p:nvSpPr>
              <p:cNvPr id="229" name="Freeform 6">
                <a:extLst>
                  <a:ext uri="{FF2B5EF4-FFF2-40B4-BE49-F238E27FC236}">
                    <a16:creationId xmlns:a16="http://schemas.microsoft.com/office/drawing/2014/main" xmlns:p14="http://schemas.microsoft.com/office/powerpoint/2010/main" xmlns:a14="http://schemas.microsoft.com/office/drawing/2010/main" xmlns="" id="{79502B8B-CFDB-43D8-A905-DFE5C5BD4280}"/>
                  </a:ext>
                </a:extLst>
              </p:cNvPr>
              <p:cNvSpPr>
                <a:spLocks/>
              </p:cNvSpPr>
              <p:nvPr/>
            </p:nvSpPr>
            <p:spPr bwMode="auto">
              <a:xfrm>
                <a:off x="8024986"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0" name="矩形: 圆角 229">
                <a:extLst>
                  <a:ext uri="{FF2B5EF4-FFF2-40B4-BE49-F238E27FC236}">
                    <a16:creationId xmlns:a16="http://schemas.microsoft.com/office/drawing/2014/main" xmlns:p14="http://schemas.microsoft.com/office/powerpoint/2010/main" xmlns:a14="http://schemas.microsoft.com/office/drawing/2010/main" xmlns="" id="{752F09D3-948F-4292-8DE2-B8068FAE905E}"/>
                  </a:ext>
                </a:extLst>
              </p:cNvPr>
              <p:cNvSpPr>
                <a:spLocks noChangeAspect="1"/>
              </p:cNvSpPr>
              <p:nvPr/>
            </p:nvSpPr>
            <p:spPr>
              <a:xfrm>
                <a:off x="8162338"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31" name="Rectangle 8">
                <a:extLst>
                  <a:ext uri="{FF2B5EF4-FFF2-40B4-BE49-F238E27FC236}">
                    <a16:creationId xmlns:a16="http://schemas.microsoft.com/office/drawing/2014/main" xmlns:p14="http://schemas.microsoft.com/office/powerpoint/2010/main" xmlns:a14="http://schemas.microsoft.com/office/drawing/2010/main" xmlns="" id="{9E424521-AF73-4143-B27F-AB4CA52F8AC5}"/>
                  </a:ext>
                </a:extLst>
              </p:cNvPr>
              <p:cNvSpPr>
                <a:spLocks noChangeArrowheads="1"/>
              </p:cNvSpPr>
              <p:nvPr/>
            </p:nvSpPr>
            <p:spPr bwMode="auto">
              <a:xfrm>
                <a:off x="8162340"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2" name="Rectangle 9">
                <a:extLst>
                  <a:ext uri="{FF2B5EF4-FFF2-40B4-BE49-F238E27FC236}">
                    <a16:creationId xmlns:a16="http://schemas.microsoft.com/office/drawing/2014/main" xmlns:p14="http://schemas.microsoft.com/office/powerpoint/2010/main" xmlns:a14="http://schemas.microsoft.com/office/drawing/2010/main" xmlns="" id="{0A670824-3D53-4F25-9305-B5E61610ACEF}"/>
                  </a:ext>
                </a:extLst>
              </p:cNvPr>
              <p:cNvSpPr>
                <a:spLocks noChangeArrowheads="1"/>
              </p:cNvSpPr>
              <p:nvPr/>
            </p:nvSpPr>
            <p:spPr bwMode="auto">
              <a:xfrm>
                <a:off x="8162340"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233" name="Oval 14">
                <a:extLst>
                  <a:ext uri="{FF2B5EF4-FFF2-40B4-BE49-F238E27FC236}">
                    <a16:creationId xmlns:a16="http://schemas.microsoft.com/office/drawing/2014/main" xmlns:p14="http://schemas.microsoft.com/office/powerpoint/2010/main" xmlns:a14="http://schemas.microsoft.com/office/drawing/2010/main" xmlns="" id="{3000338F-035C-4A39-8F0D-0B0F4BF1FBC6}"/>
                  </a:ext>
                </a:extLst>
              </p:cNvPr>
              <p:cNvSpPr>
                <a:spLocks noChangeArrowheads="1"/>
              </p:cNvSpPr>
              <p:nvPr/>
            </p:nvSpPr>
            <p:spPr bwMode="auto">
              <a:xfrm>
                <a:off x="8523496"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4" name="Oval 15">
                <a:extLst>
                  <a:ext uri="{FF2B5EF4-FFF2-40B4-BE49-F238E27FC236}">
                    <a16:creationId xmlns:a16="http://schemas.microsoft.com/office/drawing/2014/main" xmlns:p14="http://schemas.microsoft.com/office/powerpoint/2010/main" xmlns:a14="http://schemas.microsoft.com/office/drawing/2010/main" xmlns="" id="{C35FFD29-58F4-44EE-BF85-050C901FFFC2}"/>
                  </a:ext>
                </a:extLst>
              </p:cNvPr>
              <p:cNvSpPr>
                <a:spLocks noChangeArrowheads="1"/>
              </p:cNvSpPr>
              <p:nvPr/>
            </p:nvSpPr>
            <p:spPr bwMode="auto">
              <a:xfrm>
                <a:off x="862819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5" name="Oval 16">
                <a:extLst>
                  <a:ext uri="{FF2B5EF4-FFF2-40B4-BE49-F238E27FC236}">
                    <a16:creationId xmlns:a16="http://schemas.microsoft.com/office/drawing/2014/main" xmlns:p14="http://schemas.microsoft.com/office/powerpoint/2010/main" xmlns:a14="http://schemas.microsoft.com/office/drawing/2010/main" xmlns="" id="{97F69D09-85DB-44A5-A24E-80C55BD5603A}"/>
                  </a:ext>
                </a:extLst>
              </p:cNvPr>
              <p:cNvSpPr>
                <a:spLocks noChangeArrowheads="1"/>
              </p:cNvSpPr>
              <p:nvPr/>
            </p:nvSpPr>
            <p:spPr bwMode="auto">
              <a:xfrm>
                <a:off x="8732889"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7" name="Freeform 18">
                <a:extLst>
                  <a:ext uri="{FF2B5EF4-FFF2-40B4-BE49-F238E27FC236}">
                    <a16:creationId xmlns:a16="http://schemas.microsoft.com/office/drawing/2014/main" xmlns:p14="http://schemas.microsoft.com/office/powerpoint/2010/main" xmlns:a14="http://schemas.microsoft.com/office/drawing/2010/main" xmlns="" id="{90231FE4-5E4A-45A4-90B3-6CE270211D8F}"/>
                  </a:ext>
                </a:extLst>
              </p:cNvPr>
              <p:cNvSpPr>
                <a:spLocks/>
              </p:cNvSpPr>
              <p:nvPr/>
            </p:nvSpPr>
            <p:spPr bwMode="auto">
              <a:xfrm>
                <a:off x="8967257"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8" name="Rectangle 19">
                <a:extLst>
                  <a:ext uri="{FF2B5EF4-FFF2-40B4-BE49-F238E27FC236}">
                    <a16:creationId xmlns:a16="http://schemas.microsoft.com/office/drawing/2014/main" xmlns:p14="http://schemas.microsoft.com/office/powerpoint/2010/main" xmlns:a14="http://schemas.microsoft.com/office/drawing/2010/main" xmlns="" id="{F5CB09CD-EA7B-4323-98CD-E0818B8A5E5C}"/>
                  </a:ext>
                </a:extLst>
              </p:cNvPr>
              <p:cNvSpPr>
                <a:spLocks noChangeArrowheads="1"/>
              </p:cNvSpPr>
              <p:nvPr/>
            </p:nvSpPr>
            <p:spPr bwMode="auto">
              <a:xfrm>
                <a:off x="9089243"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9" name="Freeform 20">
                <a:extLst>
                  <a:ext uri="{FF2B5EF4-FFF2-40B4-BE49-F238E27FC236}">
                    <a16:creationId xmlns:a16="http://schemas.microsoft.com/office/drawing/2014/main" xmlns:p14="http://schemas.microsoft.com/office/powerpoint/2010/main" xmlns:a14="http://schemas.microsoft.com/office/drawing/2010/main" xmlns="" id="{9E308F54-DF39-45B6-81B7-DB95BBBDC8EB}"/>
                  </a:ext>
                </a:extLst>
              </p:cNvPr>
              <p:cNvSpPr>
                <a:spLocks/>
              </p:cNvSpPr>
              <p:nvPr/>
            </p:nvSpPr>
            <p:spPr bwMode="auto">
              <a:xfrm>
                <a:off x="8491798"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0" name="Freeform 21">
                <a:extLst>
                  <a:ext uri="{FF2B5EF4-FFF2-40B4-BE49-F238E27FC236}">
                    <a16:creationId xmlns:a16="http://schemas.microsoft.com/office/drawing/2014/main" xmlns:p14="http://schemas.microsoft.com/office/powerpoint/2010/main" xmlns:a14="http://schemas.microsoft.com/office/drawing/2010/main" xmlns="" id="{AACED065-E1E1-4CB9-A30A-E07933F7ACB6}"/>
                  </a:ext>
                </a:extLst>
              </p:cNvPr>
              <p:cNvSpPr>
                <a:spLocks/>
              </p:cNvSpPr>
              <p:nvPr/>
            </p:nvSpPr>
            <p:spPr bwMode="auto">
              <a:xfrm>
                <a:off x="9669398"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1" name="Freeform 22">
                <a:extLst>
                  <a:ext uri="{FF2B5EF4-FFF2-40B4-BE49-F238E27FC236}">
                    <a16:creationId xmlns:a16="http://schemas.microsoft.com/office/drawing/2014/main" xmlns:p14="http://schemas.microsoft.com/office/powerpoint/2010/main" xmlns:a14="http://schemas.microsoft.com/office/drawing/2010/main" xmlns="" id="{2152015E-3C4D-4CA0-90C5-4D1D7DF55BCD}"/>
                  </a:ext>
                </a:extLst>
              </p:cNvPr>
              <p:cNvSpPr>
                <a:spLocks/>
              </p:cNvSpPr>
              <p:nvPr/>
            </p:nvSpPr>
            <p:spPr bwMode="auto">
              <a:xfrm>
                <a:off x="10109316"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2" name="Freeform 23">
                <a:extLst>
                  <a:ext uri="{FF2B5EF4-FFF2-40B4-BE49-F238E27FC236}">
                    <a16:creationId xmlns:a16="http://schemas.microsoft.com/office/drawing/2014/main" xmlns:p14="http://schemas.microsoft.com/office/powerpoint/2010/main" xmlns:a14="http://schemas.microsoft.com/office/drawing/2010/main" xmlns="" id="{222B65CD-2DCC-4C25-B9F3-88E22F8EFCBF}"/>
                  </a:ext>
                </a:extLst>
              </p:cNvPr>
              <p:cNvSpPr>
                <a:spLocks/>
              </p:cNvSpPr>
              <p:nvPr/>
            </p:nvSpPr>
            <p:spPr bwMode="auto">
              <a:xfrm>
                <a:off x="10549235"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3" name="矩形: 圆角 242">
                <a:extLst>
                  <a:ext uri="{FF2B5EF4-FFF2-40B4-BE49-F238E27FC236}">
                    <a16:creationId xmlns:a16="http://schemas.microsoft.com/office/drawing/2014/main" xmlns:p14="http://schemas.microsoft.com/office/powerpoint/2010/main" xmlns:a14="http://schemas.microsoft.com/office/drawing/2010/main" xmlns="" id="{143380E5-1914-4C09-9478-A3B7CC7F2082}"/>
                  </a:ext>
                </a:extLst>
              </p:cNvPr>
              <p:cNvSpPr>
                <a:spLocks noChangeAspect="1"/>
              </p:cNvSpPr>
              <p:nvPr/>
            </p:nvSpPr>
            <p:spPr>
              <a:xfrm>
                <a:off x="8162338"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4" name="矩形: 圆角 243">
                <a:extLst>
                  <a:ext uri="{FF2B5EF4-FFF2-40B4-BE49-F238E27FC236}">
                    <a16:creationId xmlns:a16="http://schemas.microsoft.com/office/drawing/2014/main" xmlns:p14="http://schemas.microsoft.com/office/powerpoint/2010/main" xmlns:a14="http://schemas.microsoft.com/office/drawing/2010/main" xmlns="" id="{7D41D53B-93CF-4F50-95E0-532B3A0F489E}"/>
                  </a:ext>
                </a:extLst>
              </p:cNvPr>
              <p:cNvSpPr>
                <a:spLocks noChangeAspect="1"/>
              </p:cNvSpPr>
              <p:nvPr/>
            </p:nvSpPr>
            <p:spPr>
              <a:xfrm>
                <a:off x="8162338"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5" name="矩形: 圆角 244">
                <a:extLst>
                  <a:ext uri="{FF2B5EF4-FFF2-40B4-BE49-F238E27FC236}">
                    <a16:creationId xmlns:a16="http://schemas.microsoft.com/office/drawing/2014/main" xmlns:p14="http://schemas.microsoft.com/office/powerpoint/2010/main" xmlns:a14="http://schemas.microsoft.com/office/drawing/2010/main" xmlns="" id="{729EE4D2-12C4-47C9-8526-205B5F461C5E}"/>
                  </a:ext>
                </a:extLst>
              </p:cNvPr>
              <p:cNvSpPr>
                <a:spLocks noChangeAspect="1"/>
              </p:cNvSpPr>
              <p:nvPr/>
            </p:nvSpPr>
            <p:spPr>
              <a:xfrm>
                <a:off x="8162338"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6" name="矩形: 圆角 245">
                <a:extLst>
                  <a:ext uri="{FF2B5EF4-FFF2-40B4-BE49-F238E27FC236}">
                    <a16:creationId xmlns:a16="http://schemas.microsoft.com/office/drawing/2014/main" xmlns:p14="http://schemas.microsoft.com/office/powerpoint/2010/main" xmlns:a14="http://schemas.microsoft.com/office/drawing/2010/main" xmlns="" id="{624B437F-52C2-4B5A-A7F7-AB3734317FD7}"/>
                  </a:ext>
                </a:extLst>
              </p:cNvPr>
              <p:cNvSpPr>
                <a:spLocks noChangeAspect="1"/>
              </p:cNvSpPr>
              <p:nvPr/>
            </p:nvSpPr>
            <p:spPr>
              <a:xfrm>
                <a:off x="8800745"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7" name="矩形: 圆角 246">
                <a:extLst>
                  <a:ext uri="{FF2B5EF4-FFF2-40B4-BE49-F238E27FC236}">
                    <a16:creationId xmlns:a16="http://schemas.microsoft.com/office/drawing/2014/main" xmlns:p14="http://schemas.microsoft.com/office/powerpoint/2010/main" xmlns:a14="http://schemas.microsoft.com/office/drawing/2010/main" xmlns="" id="{DBE45890-BEE4-4CC2-954A-359AEB3349DF}"/>
                  </a:ext>
                </a:extLst>
              </p:cNvPr>
              <p:cNvSpPr>
                <a:spLocks noChangeAspect="1"/>
              </p:cNvSpPr>
              <p:nvPr/>
            </p:nvSpPr>
            <p:spPr>
              <a:xfrm>
                <a:off x="8162338"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0" name="组合 9">
              <a:extLst>
                <a:ext uri="{FF2B5EF4-FFF2-40B4-BE49-F238E27FC236}">
                  <a16:creationId xmlns:a16="http://schemas.microsoft.com/office/drawing/2014/main" xmlns:p14="http://schemas.microsoft.com/office/powerpoint/2010/main" xmlns:a14="http://schemas.microsoft.com/office/drawing/2010/main" xmlns="" id="{CFA48FDE-21A2-4B5B-A060-950102760C79}"/>
                </a:ext>
              </a:extLst>
            </p:cNvPr>
            <p:cNvGrpSpPr/>
            <p:nvPr/>
          </p:nvGrpSpPr>
          <p:grpSpPr>
            <a:xfrm>
              <a:off x="9010193" y="3211004"/>
              <a:ext cx="2127585" cy="587141"/>
              <a:chOff x="9010193" y="3211004"/>
              <a:chExt cx="2127585" cy="587141"/>
            </a:xfrm>
          </p:grpSpPr>
          <p:grpSp>
            <p:nvGrpSpPr>
              <p:cNvPr id="143" name="组合 142">
                <a:extLst>
                  <a:ext uri="{FF2B5EF4-FFF2-40B4-BE49-F238E27FC236}">
                    <a16:creationId xmlns:a16="http://schemas.microsoft.com/office/drawing/2014/main" xmlns:p14="http://schemas.microsoft.com/office/powerpoint/2010/main" xmlns:a14="http://schemas.microsoft.com/office/drawing/2010/main" xmlns="" id="{009585A0-D562-4C9F-B5A6-071E8AA3C2BA}"/>
                  </a:ext>
                </a:extLst>
              </p:cNvPr>
              <p:cNvGrpSpPr/>
              <p:nvPr/>
            </p:nvGrpSpPr>
            <p:grpSpPr>
              <a:xfrm>
                <a:off x="10629190" y="3211004"/>
                <a:ext cx="508588" cy="587141"/>
                <a:chOff x="1703214" y="3185928"/>
                <a:chExt cx="582258" cy="521425"/>
              </a:xfrm>
            </p:grpSpPr>
            <p:sp>
              <p:nvSpPr>
                <p:cNvPr id="167" name="矩形 166">
                  <a:extLst>
                    <a:ext uri="{FF2B5EF4-FFF2-40B4-BE49-F238E27FC236}">
                      <a16:creationId xmlns:a16="http://schemas.microsoft.com/office/drawing/2014/main" xmlns:p14="http://schemas.microsoft.com/office/powerpoint/2010/main" xmlns:a14="http://schemas.microsoft.com/office/drawing/2010/main" xmlns="" id="{309EB08F-A938-40D0-9A34-596ABEC4C1DD}"/>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8" name="矩形 167">
                  <a:extLst>
                    <a:ext uri="{FF2B5EF4-FFF2-40B4-BE49-F238E27FC236}">
                      <a16:creationId xmlns:a16="http://schemas.microsoft.com/office/drawing/2014/main" xmlns:p14="http://schemas.microsoft.com/office/powerpoint/2010/main" xmlns:a14="http://schemas.microsoft.com/office/drawing/2010/main" xmlns="" id="{EA556D63-A4AF-466F-9BA4-4A76DE8E7A63}"/>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4" name="矩形 173">
                  <a:extLst>
                    <a:ext uri="{FF2B5EF4-FFF2-40B4-BE49-F238E27FC236}">
                      <a16:creationId xmlns:a16="http://schemas.microsoft.com/office/drawing/2014/main" xmlns:p14="http://schemas.microsoft.com/office/powerpoint/2010/main" xmlns:a14="http://schemas.microsoft.com/office/drawing/2010/main" xmlns="" id="{702E4932-2853-468B-8CEE-8E8DEB08335C}"/>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47" name="组合 146">
                <a:extLst>
                  <a:ext uri="{FF2B5EF4-FFF2-40B4-BE49-F238E27FC236}">
                    <a16:creationId xmlns:a16="http://schemas.microsoft.com/office/drawing/2014/main" xmlns:p14="http://schemas.microsoft.com/office/powerpoint/2010/main" xmlns:a14="http://schemas.microsoft.com/office/drawing/2010/main" xmlns="" id="{5864092F-3936-4E3B-AC38-C65A1D396CA8}"/>
                  </a:ext>
                </a:extLst>
              </p:cNvPr>
              <p:cNvGrpSpPr/>
              <p:nvPr/>
            </p:nvGrpSpPr>
            <p:grpSpPr>
              <a:xfrm>
                <a:off x="9010193" y="3211004"/>
                <a:ext cx="508588" cy="587141"/>
                <a:chOff x="1703214" y="3185928"/>
                <a:chExt cx="582258" cy="521425"/>
              </a:xfrm>
            </p:grpSpPr>
            <p:sp>
              <p:nvSpPr>
                <p:cNvPr id="149" name="矩形 148">
                  <a:extLst>
                    <a:ext uri="{FF2B5EF4-FFF2-40B4-BE49-F238E27FC236}">
                      <a16:creationId xmlns:a16="http://schemas.microsoft.com/office/drawing/2014/main" xmlns:p14="http://schemas.microsoft.com/office/powerpoint/2010/main" xmlns:a14="http://schemas.microsoft.com/office/drawing/2010/main" xmlns="" id="{F5CE67A9-7F46-47EE-A182-EEDC7671BE84}"/>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矩形 149">
                  <a:extLst>
                    <a:ext uri="{FF2B5EF4-FFF2-40B4-BE49-F238E27FC236}">
                      <a16:creationId xmlns:a16="http://schemas.microsoft.com/office/drawing/2014/main" xmlns:p14="http://schemas.microsoft.com/office/powerpoint/2010/main" xmlns:a14="http://schemas.microsoft.com/office/drawing/2010/main" xmlns="" id="{B2641C79-6356-47FF-A04C-975EFC5BC261}"/>
                    </a:ext>
                  </a:extLst>
                </p:cNvPr>
                <p:cNvSpPr/>
                <p:nvPr/>
              </p:nvSpPr>
              <p:spPr>
                <a:xfrm>
                  <a:off x="1755000"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2" name="矩形 151">
                  <a:extLst>
                    <a:ext uri="{FF2B5EF4-FFF2-40B4-BE49-F238E27FC236}">
                      <a16:creationId xmlns:a16="http://schemas.microsoft.com/office/drawing/2014/main" xmlns:p14="http://schemas.microsoft.com/office/powerpoint/2010/main" xmlns:a14="http://schemas.microsoft.com/office/drawing/2010/main" xmlns="" id="{C55A7A23-0C58-4770-A615-E9A2CEB20583}"/>
                    </a:ext>
                  </a:extLst>
                </p:cNvPr>
                <p:cNvSpPr/>
                <p:nvPr/>
              </p:nvSpPr>
              <p:spPr>
                <a:xfrm>
                  <a:off x="1755000"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76" name="图形 175">
                <a:extLst>
                  <a:ext uri="{FF2B5EF4-FFF2-40B4-BE49-F238E27FC236}">
                    <a16:creationId xmlns:a16="http://schemas.microsoft.com/office/drawing/2014/main" xmlns:p14="http://schemas.microsoft.com/office/powerpoint/2010/main" xmlns:a14="http://schemas.microsoft.com/office/drawing/2010/main" xmlns="" id="{3BCA95A1-5BA3-4682-BB46-744197EA8B37}"/>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9610087" y="3216083"/>
                <a:ext cx="921528" cy="557932"/>
              </a:xfrm>
              <a:prstGeom prst="rect">
                <a:avLst/>
              </a:prstGeom>
            </p:spPr>
          </p:pic>
        </p:grpSp>
      </p:grpSp>
      <p:sp>
        <p:nvSpPr>
          <p:cNvPr id="4" name="标题 1">
            <a:extLst>
              <a:ext uri="{FF2B5EF4-FFF2-40B4-BE49-F238E27FC236}">
                <a16:creationId xmlns:a16="http://schemas.microsoft.com/office/drawing/2014/main" xmlns:p14="http://schemas.microsoft.com/office/powerpoint/2010/main" xmlns:a14="http://schemas.microsoft.com/office/drawing/2010/main" xmlns="" id="{EB39E194-01C4-46CF-B8A6-9AD2197F24D4}"/>
              </a:ext>
            </a:extLst>
          </p:cNvPr>
          <p:cNvSpPr txBox="1">
            <a:spLocks/>
          </p:cNvSpPr>
          <p:nvPr/>
        </p:nvSpPr>
        <p:spPr>
          <a:xfrm>
            <a:off x="660400" y="0"/>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smtClean="0"/>
              <a:t>更改</a:t>
            </a:r>
            <a:r>
              <a:rPr lang="zh-CN" altLang="en-US" sz="100" b="1" smtClean="0"/>
              <a:t> </a:t>
            </a:r>
            <a:r>
              <a:rPr lang="zh-CN" altLang="en-US" sz="2800" b="1" smtClean="0"/>
              <a:t>图</a:t>
            </a:r>
            <a:r>
              <a:rPr lang="zh-CN" altLang="en-US" sz="2800" b="1" dirty="0"/>
              <a:t>示中的插图  </a:t>
            </a:r>
            <a:r>
              <a:rPr lang="en-US" altLang="zh-CN" sz="2800" b="1" dirty="0"/>
              <a:t>Replace Vectors in Diagram</a:t>
            </a:r>
            <a:endParaRPr lang="zh-CN" altLang="en-US" sz="2800" b="1" dirty="0"/>
          </a:p>
        </p:txBody>
      </p:sp>
      <p:grpSp>
        <p:nvGrpSpPr>
          <p:cNvPr id="11" name="组合 10">
            <a:extLst>
              <a:ext uri="{FF2B5EF4-FFF2-40B4-BE49-F238E27FC236}">
                <a16:creationId xmlns:a16="http://schemas.microsoft.com/office/drawing/2014/main" xmlns:p14="http://schemas.microsoft.com/office/powerpoint/2010/main" xmlns:a14="http://schemas.microsoft.com/office/drawing/2010/main" xmlns="" id="{41340CDE-3267-4179-B203-21C1D373AC7C}"/>
              </a:ext>
            </a:extLst>
          </p:cNvPr>
          <p:cNvGrpSpPr/>
          <p:nvPr/>
        </p:nvGrpSpPr>
        <p:grpSpPr>
          <a:xfrm>
            <a:off x="660400" y="1959178"/>
            <a:ext cx="3493913" cy="2403813"/>
            <a:chOff x="660400" y="1959178"/>
            <a:chExt cx="3493913" cy="2403813"/>
          </a:xfrm>
        </p:grpSpPr>
        <p:sp>
          <p:nvSpPr>
            <p:cNvPr id="795" name="Rectangle 10">
              <a:extLst>
                <a:ext uri="{FF2B5EF4-FFF2-40B4-BE49-F238E27FC236}">
                  <a16:creationId xmlns:a16="http://schemas.microsoft.com/office/drawing/2014/main" xmlns:p14="http://schemas.microsoft.com/office/powerpoint/2010/main" xmlns:a14="http://schemas.microsoft.com/office/drawing/2010/main" xmlns="" id="{EB08811A-69A0-4B03-AD69-4D4093A4A1A1}"/>
                </a:ext>
              </a:extLst>
            </p:cNvPr>
            <p:cNvSpPr>
              <a:spLocks noChangeArrowheads="1"/>
            </p:cNvSpPr>
            <p:nvPr/>
          </p:nvSpPr>
          <p:spPr bwMode="auto">
            <a:xfrm>
              <a:off x="809622" y="2219171"/>
              <a:ext cx="3240163" cy="17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9" name="组合 8">
              <a:extLst>
                <a:ext uri="{FF2B5EF4-FFF2-40B4-BE49-F238E27FC236}">
                  <a16:creationId xmlns:a16="http://schemas.microsoft.com/office/drawing/2014/main" xmlns:p14="http://schemas.microsoft.com/office/powerpoint/2010/main" xmlns:a14="http://schemas.microsoft.com/office/drawing/2010/main" xmlns="" id="{57827EC8-4212-4214-BEC6-635EE8E79011}"/>
                </a:ext>
              </a:extLst>
            </p:cNvPr>
            <p:cNvGrpSpPr/>
            <p:nvPr/>
          </p:nvGrpSpPr>
          <p:grpSpPr>
            <a:xfrm>
              <a:off x="660400" y="1959178"/>
              <a:ext cx="3493913" cy="2403813"/>
              <a:chOff x="673100" y="1959176"/>
              <a:chExt cx="3493913" cy="2403813"/>
            </a:xfrm>
          </p:grpSpPr>
          <p:grpSp>
            <p:nvGrpSpPr>
              <p:cNvPr id="248" name="组合 247">
                <a:extLst>
                  <a:ext uri="{FF2B5EF4-FFF2-40B4-BE49-F238E27FC236}">
                    <a16:creationId xmlns:a16="http://schemas.microsoft.com/office/drawing/2014/main" xmlns:p14="http://schemas.microsoft.com/office/powerpoint/2010/main" xmlns:a14="http://schemas.microsoft.com/office/drawing/2010/main" xmlns="" id="{7740B1D8-836E-4790-9DD0-E1EA943A1D9C}"/>
                  </a:ext>
                </a:extLst>
              </p:cNvPr>
              <p:cNvGrpSpPr/>
              <p:nvPr/>
            </p:nvGrpSpPr>
            <p:grpSpPr>
              <a:xfrm>
                <a:off x="673100" y="1959176"/>
                <a:ext cx="3493913" cy="2403813"/>
                <a:chOff x="673100" y="1959176"/>
                <a:chExt cx="3493913" cy="2403813"/>
              </a:xfrm>
            </p:grpSpPr>
            <p:sp>
              <p:nvSpPr>
                <p:cNvPr id="249" name="Freeform 6">
                  <a:extLst>
                    <a:ext uri="{FF2B5EF4-FFF2-40B4-BE49-F238E27FC236}">
                      <a16:creationId xmlns:a16="http://schemas.microsoft.com/office/drawing/2014/main" xmlns:p14="http://schemas.microsoft.com/office/powerpoint/2010/main" xmlns:a14="http://schemas.microsoft.com/office/drawing/2010/main" xmlns="" id="{EF67C987-3113-4318-8AC6-E739BB42568A}"/>
                    </a:ext>
                  </a:extLst>
                </p:cNvPr>
                <p:cNvSpPr>
                  <a:spLocks/>
                </p:cNvSpPr>
                <p:nvPr/>
              </p:nvSpPr>
              <p:spPr bwMode="auto">
                <a:xfrm>
                  <a:off x="673100"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250" name="矩形: 圆角 249">
                  <a:extLst>
                    <a:ext uri="{FF2B5EF4-FFF2-40B4-BE49-F238E27FC236}">
                      <a16:creationId xmlns:a16="http://schemas.microsoft.com/office/drawing/2014/main" xmlns:p14="http://schemas.microsoft.com/office/powerpoint/2010/main" xmlns:a14="http://schemas.microsoft.com/office/drawing/2010/main" xmlns="" id="{A0006912-9DA4-43EF-8BD5-EF546FCE3339}"/>
                    </a:ext>
                  </a:extLst>
                </p:cNvPr>
                <p:cNvSpPr>
                  <a:spLocks noChangeAspect="1"/>
                </p:cNvSpPr>
                <p:nvPr/>
              </p:nvSpPr>
              <p:spPr>
                <a:xfrm>
                  <a:off x="810452"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51" name="Rectangle 8">
                  <a:extLst>
                    <a:ext uri="{FF2B5EF4-FFF2-40B4-BE49-F238E27FC236}">
                      <a16:creationId xmlns:a16="http://schemas.microsoft.com/office/drawing/2014/main" xmlns:p14="http://schemas.microsoft.com/office/powerpoint/2010/main" xmlns:a14="http://schemas.microsoft.com/office/drawing/2010/main" xmlns="" id="{556C6F3A-7655-4359-A6CC-0479F824F891}"/>
                    </a:ext>
                  </a:extLst>
                </p:cNvPr>
                <p:cNvSpPr>
                  <a:spLocks noChangeArrowheads="1"/>
                </p:cNvSpPr>
                <p:nvPr/>
              </p:nvSpPr>
              <p:spPr bwMode="auto">
                <a:xfrm>
                  <a:off x="810454"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2" name="Rectangle 9">
                  <a:extLst>
                    <a:ext uri="{FF2B5EF4-FFF2-40B4-BE49-F238E27FC236}">
                      <a16:creationId xmlns:a16="http://schemas.microsoft.com/office/drawing/2014/main" xmlns:p14="http://schemas.microsoft.com/office/powerpoint/2010/main" xmlns:a14="http://schemas.microsoft.com/office/drawing/2010/main" xmlns="" id="{C6106673-43BC-4DD8-A493-EDA9B6B2D456}"/>
                    </a:ext>
                  </a:extLst>
                </p:cNvPr>
                <p:cNvSpPr>
                  <a:spLocks noChangeArrowheads="1"/>
                </p:cNvSpPr>
                <p:nvPr/>
              </p:nvSpPr>
              <p:spPr bwMode="auto">
                <a:xfrm>
                  <a:off x="810454"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3" name="Oval 14">
                  <a:extLst>
                    <a:ext uri="{FF2B5EF4-FFF2-40B4-BE49-F238E27FC236}">
                      <a16:creationId xmlns:a16="http://schemas.microsoft.com/office/drawing/2014/main" xmlns:p14="http://schemas.microsoft.com/office/powerpoint/2010/main" xmlns:a14="http://schemas.microsoft.com/office/drawing/2010/main" xmlns="" id="{1B8CD3B4-C3D2-4456-B988-B5F3C2205217}"/>
                    </a:ext>
                  </a:extLst>
                </p:cNvPr>
                <p:cNvSpPr>
                  <a:spLocks noChangeArrowheads="1"/>
                </p:cNvSpPr>
                <p:nvPr/>
              </p:nvSpPr>
              <p:spPr bwMode="auto">
                <a:xfrm>
                  <a:off x="1171610"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4" name="Oval 15">
                  <a:extLst>
                    <a:ext uri="{FF2B5EF4-FFF2-40B4-BE49-F238E27FC236}">
                      <a16:creationId xmlns:a16="http://schemas.microsoft.com/office/drawing/2014/main" xmlns:p14="http://schemas.microsoft.com/office/powerpoint/2010/main" xmlns:a14="http://schemas.microsoft.com/office/drawing/2010/main" xmlns="" id="{3D1BADA4-D749-46AD-8E50-EEA49550C016}"/>
                    </a:ext>
                  </a:extLst>
                </p:cNvPr>
                <p:cNvSpPr>
                  <a:spLocks noChangeArrowheads="1"/>
                </p:cNvSpPr>
                <p:nvPr/>
              </p:nvSpPr>
              <p:spPr bwMode="auto">
                <a:xfrm>
                  <a:off x="1276307"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5" name="Oval 16">
                  <a:extLst>
                    <a:ext uri="{FF2B5EF4-FFF2-40B4-BE49-F238E27FC236}">
                      <a16:creationId xmlns:a16="http://schemas.microsoft.com/office/drawing/2014/main" xmlns:p14="http://schemas.microsoft.com/office/powerpoint/2010/main" xmlns:a14="http://schemas.microsoft.com/office/drawing/2010/main" xmlns="" id="{C93A76CA-F9DB-4B79-A4FE-0C3902E5B9CF}"/>
                    </a:ext>
                  </a:extLst>
                </p:cNvPr>
                <p:cNvSpPr>
                  <a:spLocks noChangeArrowheads="1"/>
                </p:cNvSpPr>
                <p:nvPr/>
              </p:nvSpPr>
              <p:spPr bwMode="auto">
                <a:xfrm>
                  <a:off x="138100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6" name="Freeform 18">
                  <a:extLst>
                    <a:ext uri="{FF2B5EF4-FFF2-40B4-BE49-F238E27FC236}">
                      <a16:creationId xmlns:a16="http://schemas.microsoft.com/office/drawing/2014/main" xmlns:p14="http://schemas.microsoft.com/office/powerpoint/2010/main" xmlns:a14="http://schemas.microsoft.com/office/drawing/2010/main" xmlns="" id="{5F916865-589E-4D0F-BACC-2570FF5D044A}"/>
                    </a:ext>
                  </a:extLst>
                </p:cNvPr>
                <p:cNvSpPr>
                  <a:spLocks/>
                </p:cNvSpPr>
                <p:nvPr/>
              </p:nvSpPr>
              <p:spPr bwMode="auto">
                <a:xfrm>
                  <a:off x="1615371"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7" name="Rectangle 19">
                  <a:extLst>
                    <a:ext uri="{FF2B5EF4-FFF2-40B4-BE49-F238E27FC236}">
                      <a16:creationId xmlns:a16="http://schemas.microsoft.com/office/drawing/2014/main" xmlns:p14="http://schemas.microsoft.com/office/powerpoint/2010/main" xmlns:a14="http://schemas.microsoft.com/office/drawing/2010/main" xmlns="" id="{65AB37D2-4B39-47BE-A62E-7B7BF58E328E}"/>
                    </a:ext>
                  </a:extLst>
                </p:cNvPr>
                <p:cNvSpPr>
                  <a:spLocks noChangeArrowheads="1"/>
                </p:cNvSpPr>
                <p:nvPr/>
              </p:nvSpPr>
              <p:spPr bwMode="auto">
                <a:xfrm>
                  <a:off x="1737357"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8" name="Freeform 20">
                  <a:extLst>
                    <a:ext uri="{FF2B5EF4-FFF2-40B4-BE49-F238E27FC236}">
                      <a16:creationId xmlns:a16="http://schemas.microsoft.com/office/drawing/2014/main" xmlns:p14="http://schemas.microsoft.com/office/powerpoint/2010/main" xmlns:a14="http://schemas.microsoft.com/office/drawing/2010/main" xmlns="" id="{BB9DC8A1-3C26-407A-A297-CFB927165CC7}"/>
                    </a:ext>
                  </a:extLst>
                </p:cNvPr>
                <p:cNvSpPr>
                  <a:spLocks/>
                </p:cNvSpPr>
                <p:nvPr/>
              </p:nvSpPr>
              <p:spPr bwMode="auto">
                <a:xfrm>
                  <a:off x="1139912"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9" name="Freeform 21">
                  <a:extLst>
                    <a:ext uri="{FF2B5EF4-FFF2-40B4-BE49-F238E27FC236}">
                      <a16:creationId xmlns:a16="http://schemas.microsoft.com/office/drawing/2014/main" xmlns:p14="http://schemas.microsoft.com/office/powerpoint/2010/main" xmlns:a14="http://schemas.microsoft.com/office/drawing/2010/main" xmlns="" id="{CBCB1766-A52D-4E2C-9918-788DA4E64C75}"/>
                    </a:ext>
                  </a:extLst>
                </p:cNvPr>
                <p:cNvSpPr>
                  <a:spLocks/>
                </p:cNvSpPr>
                <p:nvPr/>
              </p:nvSpPr>
              <p:spPr bwMode="auto">
                <a:xfrm>
                  <a:off x="2317512"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0" name="Freeform 22">
                  <a:extLst>
                    <a:ext uri="{FF2B5EF4-FFF2-40B4-BE49-F238E27FC236}">
                      <a16:creationId xmlns:a16="http://schemas.microsoft.com/office/drawing/2014/main" xmlns:p14="http://schemas.microsoft.com/office/powerpoint/2010/main" xmlns:a14="http://schemas.microsoft.com/office/drawing/2010/main" xmlns="" id="{5DD5BED3-191E-4BD6-9FE9-141C415A5202}"/>
                    </a:ext>
                  </a:extLst>
                </p:cNvPr>
                <p:cNvSpPr>
                  <a:spLocks/>
                </p:cNvSpPr>
                <p:nvPr/>
              </p:nvSpPr>
              <p:spPr bwMode="auto">
                <a:xfrm>
                  <a:off x="2757430"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1" name="Freeform 23">
                  <a:extLst>
                    <a:ext uri="{FF2B5EF4-FFF2-40B4-BE49-F238E27FC236}">
                      <a16:creationId xmlns:a16="http://schemas.microsoft.com/office/drawing/2014/main" xmlns:p14="http://schemas.microsoft.com/office/powerpoint/2010/main" xmlns:a14="http://schemas.microsoft.com/office/drawing/2010/main" xmlns="" id="{61B3D93D-CA1C-4835-8048-01774ABDA816}"/>
                    </a:ext>
                  </a:extLst>
                </p:cNvPr>
                <p:cNvSpPr>
                  <a:spLocks/>
                </p:cNvSpPr>
                <p:nvPr/>
              </p:nvSpPr>
              <p:spPr bwMode="auto">
                <a:xfrm>
                  <a:off x="3197349"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2" name="矩形: 圆角 261">
                  <a:extLst>
                    <a:ext uri="{FF2B5EF4-FFF2-40B4-BE49-F238E27FC236}">
                      <a16:creationId xmlns:a16="http://schemas.microsoft.com/office/drawing/2014/main" xmlns:p14="http://schemas.microsoft.com/office/powerpoint/2010/main" xmlns:a14="http://schemas.microsoft.com/office/drawing/2010/main" xmlns="" id="{41055386-139A-442D-91A8-1B5CD97B491E}"/>
                    </a:ext>
                  </a:extLst>
                </p:cNvPr>
                <p:cNvSpPr>
                  <a:spLocks noChangeAspect="1"/>
                </p:cNvSpPr>
                <p:nvPr/>
              </p:nvSpPr>
              <p:spPr>
                <a:xfrm>
                  <a:off x="810452"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3" name="矩形: 圆角 262">
                  <a:extLst>
                    <a:ext uri="{FF2B5EF4-FFF2-40B4-BE49-F238E27FC236}">
                      <a16:creationId xmlns:a16="http://schemas.microsoft.com/office/drawing/2014/main" xmlns:p14="http://schemas.microsoft.com/office/powerpoint/2010/main" xmlns:a14="http://schemas.microsoft.com/office/drawing/2010/main" xmlns="" id="{F5DC8E02-0625-4CA9-A210-3FA760F32058}"/>
                    </a:ext>
                  </a:extLst>
                </p:cNvPr>
                <p:cNvSpPr>
                  <a:spLocks noChangeAspect="1"/>
                </p:cNvSpPr>
                <p:nvPr/>
              </p:nvSpPr>
              <p:spPr>
                <a:xfrm>
                  <a:off x="810452"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4" name="矩形: 圆角 263">
                  <a:extLst>
                    <a:ext uri="{FF2B5EF4-FFF2-40B4-BE49-F238E27FC236}">
                      <a16:creationId xmlns:a16="http://schemas.microsoft.com/office/drawing/2014/main" xmlns:p14="http://schemas.microsoft.com/office/powerpoint/2010/main" xmlns:a14="http://schemas.microsoft.com/office/drawing/2010/main" xmlns="" id="{174F4A25-7A8F-4CA3-A664-254C0F10638E}"/>
                    </a:ext>
                  </a:extLst>
                </p:cNvPr>
                <p:cNvSpPr>
                  <a:spLocks noChangeAspect="1"/>
                </p:cNvSpPr>
                <p:nvPr/>
              </p:nvSpPr>
              <p:spPr>
                <a:xfrm>
                  <a:off x="810452"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5" name="矩形: 圆角 264">
                  <a:extLst>
                    <a:ext uri="{FF2B5EF4-FFF2-40B4-BE49-F238E27FC236}">
                      <a16:creationId xmlns:a16="http://schemas.microsoft.com/office/drawing/2014/main" xmlns:p14="http://schemas.microsoft.com/office/powerpoint/2010/main" xmlns:a14="http://schemas.microsoft.com/office/drawing/2010/main" xmlns="" id="{41F79B51-FB01-48E2-B2CF-C41B66B2F234}"/>
                    </a:ext>
                  </a:extLst>
                </p:cNvPr>
                <p:cNvSpPr>
                  <a:spLocks noChangeAspect="1"/>
                </p:cNvSpPr>
                <p:nvPr/>
              </p:nvSpPr>
              <p:spPr>
                <a:xfrm>
                  <a:off x="1448859"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6" name="矩形: 圆角 265">
                  <a:extLst>
                    <a:ext uri="{FF2B5EF4-FFF2-40B4-BE49-F238E27FC236}">
                      <a16:creationId xmlns:a16="http://schemas.microsoft.com/office/drawing/2014/main" xmlns:p14="http://schemas.microsoft.com/office/powerpoint/2010/main" xmlns:a14="http://schemas.microsoft.com/office/drawing/2010/main" xmlns="" id="{E3E0C10E-F4B3-4762-8F9D-7B6A06EDF4DF}"/>
                    </a:ext>
                  </a:extLst>
                </p:cNvPr>
                <p:cNvSpPr>
                  <a:spLocks noChangeAspect="1"/>
                </p:cNvSpPr>
                <p:nvPr/>
              </p:nvSpPr>
              <p:spPr>
                <a:xfrm>
                  <a:off x="810452"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8" name="组合 7">
                <a:extLst>
                  <a:ext uri="{FF2B5EF4-FFF2-40B4-BE49-F238E27FC236}">
                    <a16:creationId xmlns:a16="http://schemas.microsoft.com/office/drawing/2014/main" xmlns:p14="http://schemas.microsoft.com/office/powerpoint/2010/main" xmlns:a14="http://schemas.microsoft.com/office/drawing/2010/main" xmlns="" id="{ABD70613-6096-41EC-8B8D-800DD72A4ADC}"/>
                  </a:ext>
                </a:extLst>
              </p:cNvPr>
              <p:cNvGrpSpPr/>
              <p:nvPr/>
            </p:nvGrpSpPr>
            <p:grpSpPr>
              <a:xfrm>
                <a:off x="1658305" y="3112822"/>
                <a:ext cx="2142449" cy="735267"/>
                <a:chOff x="1658305" y="3112822"/>
                <a:chExt cx="2142449" cy="735267"/>
              </a:xfrm>
            </p:grpSpPr>
            <p:grpSp>
              <p:nvGrpSpPr>
                <p:cNvPr id="6" name="组合 5">
                  <a:extLst>
                    <a:ext uri="{FF2B5EF4-FFF2-40B4-BE49-F238E27FC236}">
                      <a16:creationId xmlns:a16="http://schemas.microsoft.com/office/drawing/2014/main" xmlns:p14="http://schemas.microsoft.com/office/powerpoint/2010/main" xmlns:a14="http://schemas.microsoft.com/office/drawing/2010/main" xmlns="" id="{8930CAB5-8483-4337-9A7A-AF126B78CB83}"/>
                    </a:ext>
                  </a:extLst>
                </p:cNvPr>
                <p:cNvGrpSpPr/>
                <p:nvPr/>
              </p:nvGrpSpPr>
              <p:grpSpPr>
                <a:xfrm>
                  <a:off x="1658305" y="3180638"/>
                  <a:ext cx="2142449" cy="617507"/>
                  <a:chOff x="1658305" y="3180638"/>
                  <a:chExt cx="2142449" cy="617507"/>
                </a:xfrm>
              </p:grpSpPr>
              <p:sp>
                <p:nvSpPr>
                  <p:cNvPr id="420" name="矩形 419">
                    <a:extLst>
                      <a:ext uri="{FF2B5EF4-FFF2-40B4-BE49-F238E27FC236}">
                        <a16:creationId xmlns:a16="http://schemas.microsoft.com/office/drawing/2014/main" xmlns:p14="http://schemas.microsoft.com/office/powerpoint/2010/main" xmlns:a14="http://schemas.microsoft.com/office/drawing/2010/main" xmlns="" id="{B63E4F93-58FC-4CD9-A34C-1104C0B05951}"/>
                      </a:ext>
                    </a:extLst>
                  </p:cNvPr>
                  <p:cNvSpPr/>
                  <p:nvPr/>
                </p:nvSpPr>
                <p:spPr>
                  <a:xfrm>
                    <a:off x="1658305"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44" name="组合 143">
                    <a:extLst>
                      <a:ext uri="{FF2B5EF4-FFF2-40B4-BE49-F238E27FC236}">
                        <a16:creationId xmlns:a16="http://schemas.microsoft.com/office/drawing/2014/main" xmlns:p14="http://schemas.microsoft.com/office/powerpoint/2010/main" xmlns:a14="http://schemas.microsoft.com/office/drawing/2010/main" xmlns="" id="{428E477C-F4CA-49FF-BCAA-14A401D6124F}"/>
                      </a:ext>
                    </a:extLst>
                  </p:cNvPr>
                  <p:cNvGrpSpPr/>
                  <p:nvPr/>
                </p:nvGrpSpPr>
                <p:grpSpPr>
                  <a:xfrm>
                    <a:off x="3277302" y="3211004"/>
                    <a:ext cx="508588" cy="587141"/>
                    <a:chOff x="1703214" y="3185928"/>
                    <a:chExt cx="582258" cy="521425"/>
                  </a:xfrm>
                </p:grpSpPr>
                <p:sp>
                  <p:nvSpPr>
                    <p:cNvPr id="145" name="矩形 144">
                      <a:extLst>
                        <a:ext uri="{FF2B5EF4-FFF2-40B4-BE49-F238E27FC236}">
                          <a16:creationId xmlns:a16="http://schemas.microsoft.com/office/drawing/2014/main" xmlns:p14="http://schemas.microsoft.com/office/powerpoint/2010/main" xmlns:a14="http://schemas.microsoft.com/office/drawing/2010/main" xmlns="" id="{249614F1-31F8-42D0-BCAF-3758E46C4D47}"/>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6" name="矩形 145">
                      <a:extLst>
                        <a:ext uri="{FF2B5EF4-FFF2-40B4-BE49-F238E27FC236}">
                          <a16:creationId xmlns:a16="http://schemas.microsoft.com/office/drawing/2014/main" xmlns:p14="http://schemas.microsoft.com/office/powerpoint/2010/main" xmlns:a14="http://schemas.microsoft.com/office/drawing/2010/main" xmlns="" id="{184CA460-5482-4CA9-949D-41F2E9F5C978}"/>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矩形 150">
                      <a:extLst>
                        <a:ext uri="{FF2B5EF4-FFF2-40B4-BE49-F238E27FC236}">
                          <a16:creationId xmlns:a16="http://schemas.microsoft.com/office/drawing/2014/main" xmlns:p14="http://schemas.microsoft.com/office/powerpoint/2010/main" xmlns:a14="http://schemas.microsoft.com/office/drawing/2010/main" xmlns="" id="{8F9D1724-52B7-4FFD-845E-8DBA04B24E52}"/>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5" name="组合 114">
                    <a:extLst>
                      <a:ext uri="{FF2B5EF4-FFF2-40B4-BE49-F238E27FC236}">
                        <a16:creationId xmlns:a16="http://schemas.microsoft.com/office/drawing/2014/main" xmlns:p14="http://schemas.microsoft.com/office/powerpoint/2010/main" xmlns:a14="http://schemas.microsoft.com/office/drawing/2010/main" xmlns="" id="{6FCD523C-D437-4D55-B9CC-5D9A81B8C342}"/>
                      </a:ext>
                    </a:extLst>
                  </p:cNvPr>
                  <p:cNvGrpSpPr/>
                  <p:nvPr/>
                </p:nvGrpSpPr>
                <p:grpSpPr>
                  <a:xfrm>
                    <a:off x="1658305" y="3211004"/>
                    <a:ext cx="508588" cy="587141"/>
                    <a:chOff x="1703214" y="3185928"/>
                    <a:chExt cx="582258" cy="521425"/>
                  </a:xfrm>
                </p:grpSpPr>
                <p:sp>
                  <p:nvSpPr>
                    <p:cNvPr id="116" name="矩形 115">
                      <a:extLst>
                        <a:ext uri="{FF2B5EF4-FFF2-40B4-BE49-F238E27FC236}">
                          <a16:creationId xmlns:a16="http://schemas.microsoft.com/office/drawing/2014/main" xmlns:p14="http://schemas.microsoft.com/office/powerpoint/2010/main" xmlns:a14="http://schemas.microsoft.com/office/drawing/2010/main" xmlns="" id="{B5D3C64A-AEE1-4FD6-9C15-31AA498B0F1B}"/>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7" name="矩形 116">
                      <a:extLst>
                        <a:ext uri="{FF2B5EF4-FFF2-40B4-BE49-F238E27FC236}">
                          <a16:creationId xmlns:a16="http://schemas.microsoft.com/office/drawing/2014/main" xmlns:p14="http://schemas.microsoft.com/office/powerpoint/2010/main" xmlns:a14="http://schemas.microsoft.com/office/drawing/2010/main" xmlns="" id="{B2E1FCBE-42A4-437B-8553-EAB3B53856F9}"/>
                        </a:ext>
                      </a:extLst>
                    </p:cNvPr>
                    <p:cNvSpPr/>
                    <p:nvPr/>
                  </p:nvSpPr>
                  <p:spPr>
                    <a:xfrm>
                      <a:off x="1755000"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 name="矩形 117">
                      <a:extLst>
                        <a:ext uri="{FF2B5EF4-FFF2-40B4-BE49-F238E27FC236}">
                          <a16:creationId xmlns:a16="http://schemas.microsoft.com/office/drawing/2014/main" xmlns:p14="http://schemas.microsoft.com/office/powerpoint/2010/main" xmlns:a14="http://schemas.microsoft.com/office/drawing/2010/main" xmlns="" id="{7474610A-07F9-4CF1-BC40-89C9BB9BB0CD}"/>
                        </a:ext>
                      </a:extLst>
                    </p:cNvPr>
                    <p:cNvSpPr/>
                    <p:nvPr/>
                  </p:nvSpPr>
                  <p:spPr>
                    <a:xfrm>
                      <a:off x="1755000"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125" name="组合 124">
                  <a:extLst>
                    <a:ext uri="{FF2B5EF4-FFF2-40B4-BE49-F238E27FC236}">
                      <a16:creationId xmlns:a16="http://schemas.microsoft.com/office/drawing/2014/main" xmlns:p14="http://schemas.microsoft.com/office/powerpoint/2010/main" xmlns:a14="http://schemas.microsoft.com/office/drawing/2010/main" xmlns="" id="{D547E991-E245-4756-ABC3-162D239AE546}"/>
                    </a:ext>
                  </a:extLst>
                </p:cNvPr>
                <p:cNvGrpSpPr/>
                <p:nvPr/>
              </p:nvGrpSpPr>
              <p:grpSpPr>
                <a:xfrm>
                  <a:off x="2346134" y="3112822"/>
                  <a:ext cx="735363" cy="735267"/>
                  <a:chOff x="2347940" y="3126117"/>
                  <a:chExt cx="483318" cy="483256"/>
                </a:xfrm>
              </p:grpSpPr>
              <p:grpSp>
                <p:nvGrpSpPr>
                  <p:cNvPr id="148" name="组合 14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xmlns:p14="http://schemas.microsoft.com/office/powerpoint/2010/main" xmlns:a14="http://schemas.microsoft.com/office/drawing/2010/main" xmlns="" id="{5792ECA9-35B8-4DAA-8E32-FF776BEFAA8C}"/>
                      </a:ext>
                    </a:extLst>
                  </p:cNvPr>
                  <p:cNvGrpSpPr/>
                  <p:nvPr/>
                </p:nvGrpSpPr>
                <p:grpSpPr>
                  <a:xfrm>
                    <a:off x="2390718" y="3167761"/>
                    <a:ext cx="439014" cy="405868"/>
                    <a:chOff x="3614738" y="1136650"/>
                    <a:chExt cx="4983163" cy="4606926"/>
                  </a:xfrm>
                </p:grpSpPr>
                <p:sp>
                  <p:nvSpPr>
                    <p:cNvPr id="172" name="is1íḍe">
                      <a:extLst>
                        <a:ext uri="{FF2B5EF4-FFF2-40B4-BE49-F238E27FC236}">
                          <a16:creationId xmlns:a16="http://schemas.microsoft.com/office/drawing/2014/main" xmlns:p14="http://schemas.microsoft.com/office/powerpoint/2010/main" xmlns:a14="http://schemas.microsoft.com/office/drawing/2010/main" xmlns="" id="{7300A892-52D6-4FC8-97C8-F014231C6371}"/>
                        </a:ext>
                      </a:extLst>
                    </p:cNvPr>
                    <p:cNvSpPr/>
                    <p:nvPr/>
                  </p:nvSpPr>
                  <p:spPr bwMode="auto">
                    <a:xfrm>
                      <a:off x="3614738" y="2106613"/>
                      <a:ext cx="749300" cy="3636963"/>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3" name="í$1idè">
                      <a:extLst>
                        <a:ext uri="{FF2B5EF4-FFF2-40B4-BE49-F238E27FC236}">
                          <a16:creationId xmlns:a16="http://schemas.microsoft.com/office/drawing/2014/main" xmlns:p14="http://schemas.microsoft.com/office/powerpoint/2010/main" xmlns:a14="http://schemas.microsoft.com/office/drawing/2010/main" xmlns="" id="{E651A605-77AA-4A19-882D-2205DD97AE5C}"/>
                        </a:ext>
                      </a:extLst>
                    </p:cNvPr>
                    <p:cNvSpPr/>
                    <p:nvPr/>
                  </p:nvSpPr>
                  <p:spPr bwMode="auto">
                    <a:xfrm>
                      <a:off x="3614738" y="2106613"/>
                      <a:ext cx="749300" cy="1123950"/>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5" name="ïšļíḋe">
                      <a:extLst>
                        <a:ext uri="{FF2B5EF4-FFF2-40B4-BE49-F238E27FC236}">
                          <a16:creationId xmlns:a16="http://schemas.microsoft.com/office/drawing/2014/main" xmlns:p14="http://schemas.microsoft.com/office/powerpoint/2010/main" xmlns:a14="http://schemas.microsoft.com/office/drawing/2010/main" xmlns="" id="{93BCA23C-0BFA-4276-A259-9BC068380DFF}"/>
                        </a:ext>
                      </a:extLst>
                    </p:cNvPr>
                    <p:cNvSpPr/>
                    <p:nvPr/>
                  </p:nvSpPr>
                  <p:spPr bwMode="auto">
                    <a:xfrm>
                      <a:off x="4651376" y="2459038"/>
                      <a:ext cx="771525" cy="3284538"/>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7" name="îŝ1iḑé">
                      <a:extLst>
                        <a:ext uri="{FF2B5EF4-FFF2-40B4-BE49-F238E27FC236}">
                          <a16:creationId xmlns:a16="http://schemas.microsoft.com/office/drawing/2014/main" xmlns:p14="http://schemas.microsoft.com/office/powerpoint/2010/main" xmlns:a14="http://schemas.microsoft.com/office/drawing/2010/main" xmlns="" id="{10B7CF8B-66AA-467E-8697-5CD2EDB1B7A3}"/>
                        </a:ext>
                      </a:extLst>
                    </p:cNvPr>
                    <p:cNvSpPr/>
                    <p:nvPr/>
                  </p:nvSpPr>
                  <p:spPr bwMode="auto">
                    <a:xfrm>
                      <a:off x="4651376" y="2459038"/>
                      <a:ext cx="771525" cy="573088"/>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8" name="iṥľiďè">
                      <a:extLst>
                        <a:ext uri="{FF2B5EF4-FFF2-40B4-BE49-F238E27FC236}">
                          <a16:creationId xmlns:a16="http://schemas.microsoft.com/office/drawing/2014/main" xmlns:p14="http://schemas.microsoft.com/office/powerpoint/2010/main" xmlns:a14="http://schemas.microsoft.com/office/drawing/2010/main" xmlns="" id="{FE9EF3D1-92DD-492C-98B9-A091F0878257}"/>
                        </a:ext>
                      </a:extLst>
                    </p:cNvPr>
                    <p:cNvSpPr/>
                    <p:nvPr/>
                  </p:nvSpPr>
                  <p:spPr bwMode="auto">
                    <a:xfrm>
                      <a:off x="5708651" y="2833688"/>
                      <a:ext cx="750888" cy="2909888"/>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9" name="ïšļiḓè">
                      <a:extLst>
                        <a:ext uri="{FF2B5EF4-FFF2-40B4-BE49-F238E27FC236}">
                          <a16:creationId xmlns:a16="http://schemas.microsoft.com/office/drawing/2014/main" xmlns:p14="http://schemas.microsoft.com/office/powerpoint/2010/main" xmlns:a14="http://schemas.microsoft.com/office/drawing/2010/main" xmlns="" id="{A9986595-E9BD-4DFA-8305-0106C2BBC0C4}"/>
                        </a:ext>
                      </a:extLst>
                    </p:cNvPr>
                    <p:cNvSpPr/>
                    <p:nvPr/>
                  </p:nvSpPr>
                  <p:spPr bwMode="auto">
                    <a:xfrm>
                      <a:off x="5708651" y="2833688"/>
                      <a:ext cx="750888" cy="661988"/>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0" name="î$ḷîdê">
                      <a:extLst>
                        <a:ext uri="{FF2B5EF4-FFF2-40B4-BE49-F238E27FC236}">
                          <a16:creationId xmlns:a16="http://schemas.microsoft.com/office/drawing/2014/main" xmlns:p14="http://schemas.microsoft.com/office/powerpoint/2010/main" xmlns:a14="http://schemas.microsoft.com/office/drawing/2010/main" xmlns="" id="{FDBF8C09-95F1-4988-94D3-41A044816D66}"/>
                        </a:ext>
                      </a:extLst>
                    </p:cNvPr>
                    <p:cNvSpPr/>
                    <p:nvPr/>
                  </p:nvSpPr>
                  <p:spPr bwMode="auto">
                    <a:xfrm>
                      <a:off x="6745288" y="3605213"/>
                      <a:ext cx="750888" cy="2138363"/>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1" name="ïṡḻïdê">
                      <a:extLst>
                        <a:ext uri="{FF2B5EF4-FFF2-40B4-BE49-F238E27FC236}">
                          <a16:creationId xmlns:a16="http://schemas.microsoft.com/office/drawing/2014/main" xmlns:p14="http://schemas.microsoft.com/office/powerpoint/2010/main" xmlns:a14="http://schemas.microsoft.com/office/drawing/2010/main" xmlns="" id="{583D8013-84F0-4EA1-A878-6EB6329FEE7B}"/>
                        </a:ext>
                      </a:extLst>
                    </p:cNvPr>
                    <p:cNvSpPr/>
                    <p:nvPr/>
                  </p:nvSpPr>
                  <p:spPr bwMode="auto">
                    <a:xfrm>
                      <a:off x="6745288" y="3605213"/>
                      <a:ext cx="750888" cy="396875"/>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0" name="ïšľïḑè">
                      <a:extLst>
                        <a:ext uri="{FF2B5EF4-FFF2-40B4-BE49-F238E27FC236}">
                          <a16:creationId xmlns:a16="http://schemas.microsoft.com/office/drawing/2014/main" xmlns:p14="http://schemas.microsoft.com/office/powerpoint/2010/main" xmlns:a14="http://schemas.microsoft.com/office/drawing/2010/main" xmlns="" id="{C2A01DFE-AD94-4D0E-B924-F5607FAAB597}"/>
                        </a:ext>
                      </a:extLst>
                    </p:cNvPr>
                    <p:cNvSpPr/>
                    <p:nvPr/>
                  </p:nvSpPr>
                  <p:spPr bwMode="auto">
                    <a:xfrm>
                      <a:off x="7781926" y="4464050"/>
                      <a:ext cx="771525" cy="1279525"/>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1" name="ïSľíḍê">
                      <a:extLst>
                        <a:ext uri="{FF2B5EF4-FFF2-40B4-BE49-F238E27FC236}">
                          <a16:creationId xmlns:a16="http://schemas.microsoft.com/office/drawing/2014/main" xmlns:p14="http://schemas.microsoft.com/office/powerpoint/2010/main" xmlns:a14="http://schemas.microsoft.com/office/drawing/2010/main" xmlns="" id="{95266D5E-A9C5-4F7B-837F-B42E08BB70DE}"/>
                        </a:ext>
                      </a:extLst>
                    </p:cNvPr>
                    <p:cNvSpPr/>
                    <p:nvPr/>
                  </p:nvSpPr>
                  <p:spPr bwMode="auto">
                    <a:xfrm>
                      <a:off x="7781926" y="4464050"/>
                      <a:ext cx="771525" cy="331788"/>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2" name="îṡlïḋe">
                      <a:extLst>
                        <a:ext uri="{FF2B5EF4-FFF2-40B4-BE49-F238E27FC236}">
                          <a16:creationId xmlns:a16="http://schemas.microsoft.com/office/drawing/2014/main" xmlns:p14="http://schemas.microsoft.com/office/powerpoint/2010/main" xmlns:a14="http://schemas.microsoft.com/office/drawing/2010/main" xmlns="" id="{67766430-F557-47F5-892F-15130FBD695A}"/>
                        </a:ext>
                      </a:extLst>
                    </p:cNvPr>
                    <p:cNvSpPr/>
                    <p:nvPr/>
                  </p:nvSpPr>
                  <p:spPr bwMode="auto">
                    <a:xfrm>
                      <a:off x="3657601" y="1136650"/>
                      <a:ext cx="4940300" cy="2865438"/>
                    </a:xfrm>
                    <a:custGeom>
                      <a:avLst/>
                      <a:gdLst>
                        <a:gd name="T0" fmla="*/ 3112 w 3112"/>
                        <a:gd name="T1" fmla="*/ 1305 h 1805"/>
                        <a:gd name="T2" fmla="*/ 3112 w 3112"/>
                        <a:gd name="T3" fmla="*/ 1805 h 1805"/>
                        <a:gd name="T4" fmla="*/ 2612 w 3112"/>
                        <a:gd name="T5" fmla="*/ 1624 h 1805"/>
                        <a:gd name="T6" fmla="*/ 2765 w 3112"/>
                        <a:gd name="T7" fmla="*/ 1527 h 1805"/>
                        <a:gd name="T8" fmla="*/ 2515 w 3112"/>
                        <a:gd name="T9" fmla="*/ 1166 h 1805"/>
                        <a:gd name="T10" fmla="*/ 2195 w 3112"/>
                        <a:gd name="T11" fmla="*/ 1222 h 1805"/>
                        <a:gd name="T12" fmla="*/ 1890 w 3112"/>
                        <a:gd name="T13" fmla="*/ 764 h 1805"/>
                        <a:gd name="T14" fmla="*/ 1570 w 3112"/>
                        <a:gd name="T15" fmla="*/ 875 h 1805"/>
                        <a:gd name="T16" fmla="*/ 1084 w 3112"/>
                        <a:gd name="T17" fmla="*/ 417 h 1805"/>
                        <a:gd name="T18" fmla="*/ 848 w 3112"/>
                        <a:gd name="T19" fmla="*/ 556 h 1805"/>
                        <a:gd name="T20" fmla="*/ 0 w 3112"/>
                        <a:gd name="T21" fmla="*/ 236 h 1805"/>
                        <a:gd name="T22" fmla="*/ 84 w 3112"/>
                        <a:gd name="T23" fmla="*/ 0 h 1805"/>
                        <a:gd name="T24" fmla="*/ 820 w 3112"/>
                        <a:gd name="T25" fmla="*/ 278 h 1805"/>
                        <a:gd name="T26" fmla="*/ 1112 w 3112"/>
                        <a:gd name="T27" fmla="*/ 111 h 1805"/>
                        <a:gd name="T28" fmla="*/ 1626 w 3112"/>
                        <a:gd name="T29" fmla="*/ 583 h 1805"/>
                        <a:gd name="T30" fmla="*/ 1987 w 3112"/>
                        <a:gd name="T31" fmla="*/ 458 h 1805"/>
                        <a:gd name="T32" fmla="*/ 2320 w 3112"/>
                        <a:gd name="T33" fmla="*/ 944 h 1805"/>
                        <a:gd name="T34" fmla="*/ 2626 w 3112"/>
                        <a:gd name="T35" fmla="*/ 875 h 1805"/>
                        <a:gd name="T36" fmla="*/ 2973 w 3112"/>
                        <a:gd name="T37" fmla="*/ 1388 h 1805"/>
                        <a:gd name="T38" fmla="*/ 3112 w 3112"/>
                        <a:gd name="T39" fmla="*/ 1305 h 1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12" h="1805">
                          <a:moveTo>
                            <a:pt x="3112" y="1305"/>
                          </a:moveTo>
                          <a:lnTo>
                            <a:pt x="3112" y="1805"/>
                          </a:lnTo>
                          <a:lnTo>
                            <a:pt x="2612" y="1624"/>
                          </a:lnTo>
                          <a:lnTo>
                            <a:pt x="2765" y="1527"/>
                          </a:lnTo>
                          <a:lnTo>
                            <a:pt x="2515" y="1166"/>
                          </a:lnTo>
                          <a:lnTo>
                            <a:pt x="2195" y="1222"/>
                          </a:lnTo>
                          <a:lnTo>
                            <a:pt x="1890" y="764"/>
                          </a:lnTo>
                          <a:lnTo>
                            <a:pt x="1570" y="875"/>
                          </a:lnTo>
                          <a:lnTo>
                            <a:pt x="1084" y="417"/>
                          </a:lnTo>
                          <a:lnTo>
                            <a:pt x="848" y="556"/>
                          </a:lnTo>
                          <a:lnTo>
                            <a:pt x="0" y="236"/>
                          </a:lnTo>
                          <a:lnTo>
                            <a:pt x="84" y="0"/>
                          </a:lnTo>
                          <a:lnTo>
                            <a:pt x="820" y="278"/>
                          </a:lnTo>
                          <a:lnTo>
                            <a:pt x="1112" y="111"/>
                          </a:lnTo>
                          <a:lnTo>
                            <a:pt x="1626" y="583"/>
                          </a:lnTo>
                          <a:lnTo>
                            <a:pt x="1987" y="458"/>
                          </a:lnTo>
                          <a:lnTo>
                            <a:pt x="2320" y="944"/>
                          </a:lnTo>
                          <a:lnTo>
                            <a:pt x="2626" y="875"/>
                          </a:lnTo>
                          <a:lnTo>
                            <a:pt x="2973" y="1388"/>
                          </a:lnTo>
                          <a:lnTo>
                            <a:pt x="3112" y="1305"/>
                          </a:lnTo>
                          <a:close/>
                        </a:path>
                      </a:pathLst>
                    </a:custGeom>
                    <a:solidFill>
                      <a:srgbClr val="FD5A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159" name="组合 158">
                    <a:extLst>
                      <a:ext uri="{FF2B5EF4-FFF2-40B4-BE49-F238E27FC236}">
                        <a16:creationId xmlns:a16="http://schemas.microsoft.com/office/drawing/2014/main" xmlns:p14="http://schemas.microsoft.com/office/powerpoint/2010/main" xmlns:a14="http://schemas.microsoft.com/office/drawing/2010/main" xmlns="" id="{6DC6394F-8C5C-496E-9A89-D0217FF2C63E}"/>
                      </a:ext>
                    </a:extLst>
                  </p:cNvPr>
                  <p:cNvGrpSpPr/>
                  <p:nvPr/>
                </p:nvGrpSpPr>
                <p:grpSpPr>
                  <a:xfrm>
                    <a:off x="2347940" y="3126117"/>
                    <a:ext cx="483318" cy="483256"/>
                    <a:chOff x="4992153" y="5058387"/>
                    <a:chExt cx="183315" cy="183292"/>
                  </a:xfrm>
                </p:grpSpPr>
                <p:sp>
                  <p:nvSpPr>
                    <p:cNvPr id="161" name="矩形 160">
                      <a:extLst>
                        <a:ext uri="{FF2B5EF4-FFF2-40B4-BE49-F238E27FC236}">
                          <a16:creationId xmlns:a16="http://schemas.microsoft.com/office/drawing/2014/main" xmlns:p14="http://schemas.microsoft.com/office/powerpoint/2010/main" xmlns:a14="http://schemas.microsoft.com/office/drawing/2010/main" xmlns="" id="{399AFA40-3447-4964-9CEE-0EC831C34235}"/>
                        </a:ext>
                      </a:extLst>
                    </p:cNvPr>
                    <p:cNvSpPr/>
                    <p:nvPr/>
                  </p:nvSpPr>
                  <p:spPr>
                    <a:xfrm>
                      <a:off x="5001989" y="5068223"/>
                      <a:ext cx="164175" cy="164176"/>
                    </a:xfrm>
                    <a:prstGeom prst="rect">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2" name="椭圆 161">
                      <a:extLst>
                        <a:ext uri="{FF2B5EF4-FFF2-40B4-BE49-F238E27FC236}">
                          <a16:creationId xmlns:a16="http://schemas.microsoft.com/office/drawing/2014/main" xmlns:p14="http://schemas.microsoft.com/office/powerpoint/2010/main" xmlns:a14="http://schemas.microsoft.com/office/drawing/2010/main" xmlns="" id="{90FDF72F-9763-42E5-A6EE-AB9C8BCED68D}"/>
                        </a:ext>
                      </a:extLst>
                    </p:cNvPr>
                    <p:cNvSpPr/>
                    <p:nvPr/>
                  </p:nvSpPr>
                  <p:spPr>
                    <a:xfrm flipH="1">
                      <a:off x="4992153" y="5058387"/>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椭圆 162">
                      <a:extLst>
                        <a:ext uri="{FF2B5EF4-FFF2-40B4-BE49-F238E27FC236}">
                          <a16:creationId xmlns:a16="http://schemas.microsoft.com/office/drawing/2014/main" xmlns:p14="http://schemas.microsoft.com/office/powerpoint/2010/main" xmlns:a14="http://schemas.microsoft.com/office/drawing/2010/main" xmlns="" id="{AD2C9A9D-37D3-408E-B9CD-1BB04F798DF5}"/>
                        </a:ext>
                      </a:extLst>
                    </p:cNvPr>
                    <p:cNvSpPr/>
                    <p:nvPr/>
                  </p:nvSpPr>
                  <p:spPr>
                    <a:xfrm flipH="1">
                      <a:off x="5073974" y="5058387"/>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椭圆 163">
                      <a:extLst>
                        <a:ext uri="{FF2B5EF4-FFF2-40B4-BE49-F238E27FC236}">
                          <a16:creationId xmlns:a16="http://schemas.microsoft.com/office/drawing/2014/main" xmlns:p14="http://schemas.microsoft.com/office/powerpoint/2010/main" xmlns:a14="http://schemas.microsoft.com/office/drawing/2010/main" xmlns="" id="{1D0EE2BC-DF49-481F-929D-8C9BA398BBA2}"/>
                        </a:ext>
                      </a:extLst>
                    </p:cNvPr>
                    <p:cNvSpPr/>
                    <p:nvPr/>
                  </p:nvSpPr>
                  <p:spPr>
                    <a:xfrm flipH="1">
                      <a:off x="5155795" y="5058387"/>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椭圆 164">
                      <a:extLst>
                        <a:ext uri="{FF2B5EF4-FFF2-40B4-BE49-F238E27FC236}">
                          <a16:creationId xmlns:a16="http://schemas.microsoft.com/office/drawing/2014/main" xmlns:p14="http://schemas.microsoft.com/office/powerpoint/2010/main" xmlns:a14="http://schemas.microsoft.com/office/drawing/2010/main" xmlns="" id="{58EC95FA-8C88-47BC-BD51-4CC7EB60C8BC}"/>
                        </a:ext>
                      </a:extLst>
                    </p:cNvPr>
                    <p:cNvSpPr/>
                    <p:nvPr/>
                  </p:nvSpPr>
                  <p:spPr>
                    <a:xfrm flipH="1">
                      <a:off x="4992153" y="5222006"/>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椭圆 165">
                      <a:extLst>
                        <a:ext uri="{FF2B5EF4-FFF2-40B4-BE49-F238E27FC236}">
                          <a16:creationId xmlns:a16="http://schemas.microsoft.com/office/drawing/2014/main" xmlns:p14="http://schemas.microsoft.com/office/powerpoint/2010/main" xmlns:a14="http://schemas.microsoft.com/office/drawing/2010/main" xmlns="" id="{10C3AA87-0B53-4E76-AA2E-5646E50538E7}"/>
                        </a:ext>
                      </a:extLst>
                    </p:cNvPr>
                    <p:cNvSpPr/>
                    <p:nvPr/>
                  </p:nvSpPr>
                  <p:spPr>
                    <a:xfrm flipH="1">
                      <a:off x="5073974" y="5222006"/>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椭圆 168">
                      <a:extLst>
                        <a:ext uri="{FF2B5EF4-FFF2-40B4-BE49-F238E27FC236}">
                          <a16:creationId xmlns:a16="http://schemas.microsoft.com/office/drawing/2014/main" xmlns:p14="http://schemas.microsoft.com/office/powerpoint/2010/main" xmlns:a14="http://schemas.microsoft.com/office/drawing/2010/main" xmlns="" id="{67A30F83-F3C9-43E9-B4A9-E6072FAA88B4}"/>
                        </a:ext>
                      </a:extLst>
                    </p:cNvPr>
                    <p:cNvSpPr/>
                    <p:nvPr/>
                  </p:nvSpPr>
                  <p:spPr>
                    <a:xfrm flipH="1">
                      <a:off x="5155795" y="5222006"/>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0" name="椭圆 169">
                      <a:extLst>
                        <a:ext uri="{FF2B5EF4-FFF2-40B4-BE49-F238E27FC236}">
                          <a16:creationId xmlns:a16="http://schemas.microsoft.com/office/drawing/2014/main" xmlns:p14="http://schemas.microsoft.com/office/powerpoint/2010/main" xmlns:a14="http://schemas.microsoft.com/office/drawing/2010/main" xmlns="" id="{6458C571-B498-46DB-894D-6847927717A2}"/>
                        </a:ext>
                      </a:extLst>
                    </p:cNvPr>
                    <p:cNvSpPr/>
                    <p:nvPr/>
                  </p:nvSpPr>
                  <p:spPr>
                    <a:xfrm flipH="1">
                      <a:off x="4992153" y="5136664"/>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椭圆 170">
                      <a:extLst>
                        <a:ext uri="{FF2B5EF4-FFF2-40B4-BE49-F238E27FC236}">
                          <a16:creationId xmlns:a16="http://schemas.microsoft.com/office/drawing/2014/main" xmlns:p14="http://schemas.microsoft.com/office/powerpoint/2010/main" xmlns:a14="http://schemas.microsoft.com/office/drawing/2010/main" xmlns="" id="{6E4B5F08-2340-4ECD-8339-403C4F7CEE43}"/>
                        </a:ext>
                      </a:extLst>
                    </p:cNvPr>
                    <p:cNvSpPr/>
                    <p:nvPr/>
                  </p:nvSpPr>
                  <p:spPr>
                    <a:xfrm flipH="1">
                      <a:off x="5155790" y="5136664"/>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grpSp>
      <p:sp>
        <p:nvSpPr>
          <p:cNvPr id="2" name="矩形 1">
            <a:extLst>
              <a:ext uri="{FF2B5EF4-FFF2-40B4-BE49-F238E27FC236}">
                <a16:creationId xmlns:a16="http://schemas.microsoft.com/office/drawing/2014/main" xmlns:p14="http://schemas.microsoft.com/office/powerpoint/2010/main" xmlns:a14="http://schemas.microsoft.com/office/drawing/2010/main" xmlns="" id="{4B1FB9A7-85C6-45C8-A73A-210A68B9C2B7}"/>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a:solidFill>
                  <a:schemeClr val="bg1"/>
                </a:solidFill>
              </a:rPr>
              <a:t>Note</a:t>
            </a:r>
            <a:r>
              <a:rPr lang="en-US" altLang="zh-CN" sz="800" b="1" smtClean="0">
                <a:solidFill>
                  <a:schemeClr val="bg1"/>
                </a:solidFill>
              </a:rPr>
              <a:t>:</a:t>
            </a:r>
            <a:r>
              <a:rPr lang="en-US" altLang="zh-CN" sz="100" b="1" smtClean="0">
                <a:solidFill>
                  <a:schemeClr val="bg1"/>
                </a:solidFill>
              </a:rPr>
              <a:t> </a:t>
            </a:r>
            <a:endParaRPr lang="en-US" altLang="zh-CN" sz="100" b="1" dirty="0">
              <a:solidFill>
                <a:schemeClr val="bg1"/>
              </a:solidFill>
            </a:endParaRPr>
          </a:p>
          <a:p>
            <a:pPr>
              <a:lnSpc>
                <a:spcPct val="120000"/>
              </a:lnSpc>
            </a:pPr>
            <a:r>
              <a:rPr lang="zh-CN" altLang="en-US" sz="800" dirty="0">
                <a:solidFill>
                  <a:schemeClr val="bg1"/>
                </a:solidFill>
              </a:rPr>
              <a:t>本页为说明页，使用时请删除本页内容。</a:t>
            </a:r>
          </a:p>
          <a:p>
            <a:pPr>
              <a:lnSpc>
                <a:spcPct val="120000"/>
              </a:lnSpc>
            </a:pPr>
            <a:r>
              <a:rPr lang="en-US" altLang="zh-CN" sz="800" dirty="0">
                <a:solidFill>
                  <a:schemeClr val="bg1"/>
                </a:solidFill>
              </a:rPr>
              <a:t>This slide is an instruction. Please delete this slide before using it for presentation.</a:t>
            </a:r>
          </a:p>
        </p:txBody>
      </p:sp>
    </p:spTree>
    <p:custDataLst>
      <p:tags r:id="rId1"/>
    </p:custDataLst>
    <p:extLst>
      <p:ext uri="{BB962C8B-B14F-4D97-AF65-F5344CB8AC3E}">
        <p14:creationId xmlns:p14="http://schemas.microsoft.com/office/powerpoint/2010/main" val="396285567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grpSp>
        <p:nvGrpSpPr>
          <p:cNvPr id="47" name="组合 46">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C3B8E65B-8D23-4A0C-BA0F-4099D6663359}"/>
              </a:ext>
            </a:extLst>
          </p:cNvPr>
          <p:cNvGrpSpPr/>
          <p:nvPr/>
        </p:nvGrpSpPr>
        <p:grpSpPr>
          <a:xfrm>
            <a:off x="5252647" y="0"/>
            <a:ext cx="6939359" cy="6858000"/>
            <a:chOff x="5252643" y="0"/>
            <a:chExt cx="6939358" cy="6858000"/>
          </a:xfrm>
          <a:solidFill>
            <a:srgbClr val="F7F7F7"/>
          </a:solidFill>
        </p:grpSpPr>
        <p:sp>
          <p:nvSpPr>
            <p:cNvPr id="48" name="任意多边形: 形状 47">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318E7F1B-E2A0-4D9A-826C-3801FAA34DB1}"/>
                </a:ext>
              </a:extLst>
            </p:cNvPr>
            <p:cNvSpPr>
              <a:spLocks/>
            </p:cNvSpPr>
            <p:nvPr/>
          </p:nvSpPr>
          <p:spPr>
            <a:xfrm rot="19800000">
              <a:off x="7350845" y="2199545"/>
              <a:ext cx="2772000" cy="2772000"/>
            </a:xfrm>
            <a:custGeom>
              <a:avLst/>
              <a:gdLst>
                <a:gd name="connsiteX0" fmla="*/ 786764 w 1905000"/>
                <a:gd name="connsiteY0" fmla="*/ 1857375 h 1866900"/>
                <a:gd name="connsiteX1" fmla="*/ 1116329 w 1905000"/>
                <a:gd name="connsiteY1" fmla="*/ 1857375 h 1866900"/>
                <a:gd name="connsiteX2" fmla="*/ 1047749 w 1905000"/>
                <a:gd name="connsiteY2" fmla="*/ 1866900 h 1866900"/>
                <a:gd name="connsiteX3" fmla="*/ 855344 w 1905000"/>
                <a:gd name="connsiteY3" fmla="*/ 1866900 h 1866900"/>
                <a:gd name="connsiteX4" fmla="*/ 786764 w 1905000"/>
                <a:gd name="connsiteY4" fmla="*/ 1857375 h 1866900"/>
                <a:gd name="connsiteX5" fmla="*/ 614362 w 1905000"/>
                <a:gd name="connsiteY5" fmla="*/ 1809750 h 1866900"/>
                <a:gd name="connsiteX6" fmla="*/ 1290637 w 1905000"/>
                <a:gd name="connsiteY6" fmla="*/ 1809750 h 1866900"/>
                <a:gd name="connsiteX7" fmla="*/ 1263967 w 1905000"/>
                <a:gd name="connsiteY7" fmla="*/ 1819275 h 1866900"/>
                <a:gd name="connsiteX8" fmla="*/ 640079 w 1905000"/>
                <a:gd name="connsiteY8" fmla="*/ 1819275 h 1866900"/>
                <a:gd name="connsiteX9" fmla="*/ 614362 w 1905000"/>
                <a:gd name="connsiteY9" fmla="*/ 1809750 h 1866900"/>
                <a:gd name="connsiteX10" fmla="*/ 509587 w 1905000"/>
                <a:gd name="connsiteY10" fmla="*/ 1762125 h 1866900"/>
                <a:gd name="connsiteX11" fmla="*/ 1396365 w 1905000"/>
                <a:gd name="connsiteY11" fmla="*/ 1762125 h 1866900"/>
                <a:gd name="connsiteX12" fmla="*/ 1377315 w 1905000"/>
                <a:gd name="connsiteY12" fmla="*/ 1771650 h 1866900"/>
                <a:gd name="connsiteX13" fmla="*/ 527685 w 1905000"/>
                <a:gd name="connsiteY13" fmla="*/ 1771650 h 1866900"/>
                <a:gd name="connsiteX14" fmla="*/ 509587 w 1905000"/>
                <a:gd name="connsiteY14" fmla="*/ 1762125 h 1866900"/>
                <a:gd name="connsiteX15" fmla="*/ 428625 w 1905000"/>
                <a:gd name="connsiteY15" fmla="*/ 1714500 h 1866900"/>
                <a:gd name="connsiteX16" fmla="*/ 1478280 w 1905000"/>
                <a:gd name="connsiteY16" fmla="*/ 1714500 h 1866900"/>
                <a:gd name="connsiteX17" fmla="*/ 1463040 w 1905000"/>
                <a:gd name="connsiteY17" fmla="*/ 1724025 h 1866900"/>
                <a:gd name="connsiteX18" fmla="*/ 443865 w 1905000"/>
                <a:gd name="connsiteY18" fmla="*/ 1724025 h 1866900"/>
                <a:gd name="connsiteX19" fmla="*/ 428625 w 1905000"/>
                <a:gd name="connsiteY19" fmla="*/ 1714500 h 1866900"/>
                <a:gd name="connsiteX20" fmla="*/ 362902 w 1905000"/>
                <a:gd name="connsiteY20" fmla="*/ 1666875 h 1866900"/>
                <a:gd name="connsiteX21" fmla="*/ 1544002 w 1905000"/>
                <a:gd name="connsiteY21" fmla="*/ 1666875 h 1866900"/>
                <a:gd name="connsiteX22" fmla="*/ 1531620 w 1905000"/>
                <a:gd name="connsiteY22" fmla="*/ 1676400 h 1866900"/>
                <a:gd name="connsiteX23" fmla="*/ 375285 w 1905000"/>
                <a:gd name="connsiteY23" fmla="*/ 1676400 h 1866900"/>
                <a:gd name="connsiteX24" fmla="*/ 362902 w 1905000"/>
                <a:gd name="connsiteY24" fmla="*/ 1666875 h 1866900"/>
                <a:gd name="connsiteX25" fmla="*/ 306705 w 1905000"/>
                <a:gd name="connsiteY25" fmla="*/ 1619250 h 1866900"/>
                <a:gd name="connsiteX26" fmla="*/ 1599247 w 1905000"/>
                <a:gd name="connsiteY26" fmla="*/ 1619250 h 1866900"/>
                <a:gd name="connsiteX27" fmla="*/ 1588770 w 1905000"/>
                <a:gd name="connsiteY27" fmla="*/ 1628775 h 1866900"/>
                <a:gd name="connsiteX28" fmla="*/ 317182 w 1905000"/>
                <a:gd name="connsiteY28" fmla="*/ 1628775 h 1866900"/>
                <a:gd name="connsiteX29" fmla="*/ 306705 w 1905000"/>
                <a:gd name="connsiteY29" fmla="*/ 1619250 h 1866900"/>
                <a:gd name="connsiteX30" fmla="*/ 258127 w 1905000"/>
                <a:gd name="connsiteY30" fmla="*/ 1571625 h 1866900"/>
                <a:gd name="connsiteX31" fmla="*/ 1646872 w 1905000"/>
                <a:gd name="connsiteY31" fmla="*/ 1571625 h 1866900"/>
                <a:gd name="connsiteX32" fmla="*/ 1637347 w 1905000"/>
                <a:gd name="connsiteY32" fmla="*/ 1581150 h 1866900"/>
                <a:gd name="connsiteX33" fmla="*/ 266699 w 1905000"/>
                <a:gd name="connsiteY33" fmla="*/ 1581150 h 1866900"/>
                <a:gd name="connsiteX34" fmla="*/ 258127 w 1905000"/>
                <a:gd name="connsiteY34" fmla="*/ 1571625 h 1866900"/>
                <a:gd name="connsiteX35" fmla="*/ 216217 w 1905000"/>
                <a:gd name="connsiteY35" fmla="*/ 1524000 h 1866900"/>
                <a:gd name="connsiteX36" fmla="*/ 1687830 w 1905000"/>
                <a:gd name="connsiteY36" fmla="*/ 1524000 h 1866900"/>
                <a:gd name="connsiteX37" fmla="*/ 1680209 w 1905000"/>
                <a:gd name="connsiteY37" fmla="*/ 1533525 h 1866900"/>
                <a:gd name="connsiteX38" fmla="*/ 223837 w 1905000"/>
                <a:gd name="connsiteY38" fmla="*/ 1533525 h 1866900"/>
                <a:gd name="connsiteX39" fmla="*/ 216217 w 1905000"/>
                <a:gd name="connsiteY39" fmla="*/ 1524000 h 1866900"/>
                <a:gd name="connsiteX40" fmla="*/ 180022 w 1905000"/>
                <a:gd name="connsiteY40" fmla="*/ 1476375 h 1866900"/>
                <a:gd name="connsiteX41" fmla="*/ 1724977 w 1905000"/>
                <a:gd name="connsiteY41" fmla="*/ 1476375 h 1866900"/>
                <a:gd name="connsiteX42" fmla="*/ 1718310 w 1905000"/>
                <a:gd name="connsiteY42" fmla="*/ 1485900 h 1866900"/>
                <a:gd name="connsiteX43" fmla="*/ 186690 w 1905000"/>
                <a:gd name="connsiteY43" fmla="*/ 1485900 h 1866900"/>
                <a:gd name="connsiteX44" fmla="*/ 180022 w 1905000"/>
                <a:gd name="connsiteY44" fmla="*/ 1476375 h 1866900"/>
                <a:gd name="connsiteX45" fmla="*/ 147637 w 1905000"/>
                <a:gd name="connsiteY45" fmla="*/ 1428750 h 1866900"/>
                <a:gd name="connsiteX46" fmla="*/ 1756410 w 1905000"/>
                <a:gd name="connsiteY46" fmla="*/ 1428750 h 1866900"/>
                <a:gd name="connsiteX47" fmla="*/ 1750695 w 1905000"/>
                <a:gd name="connsiteY47" fmla="*/ 1438275 h 1866900"/>
                <a:gd name="connsiteX48" fmla="*/ 153352 w 1905000"/>
                <a:gd name="connsiteY48" fmla="*/ 1438275 h 1866900"/>
                <a:gd name="connsiteX49" fmla="*/ 147637 w 1905000"/>
                <a:gd name="connsiteY49" fmla="*/ 1428750 h 1866900"/>
                <a:gd name="connsiteX50" fmla="*/ 119062 w 1905000"/>
                <a:gd name="connsiteY50" fmla="*/ 1381125 h 1866900"/>
                <a:gd name="connsiteX51" fmla="*/ 1785937 w 1905000"/>
                <a:gd name="connsiteY51" fmla="*/ 1381125 h 1866900"/>
                <a:gd name="connsiteX52" fmla="*/ 1780222 w 1905000"/>
                <a:gd name="connsiteY52" fmla="*/ 1390650 h 1866900"/>
                <a:gd name="connsiteX53" fmla="*/ 124777 w 1905000"/>
                <a:gd name="connsiteY53" fmla="*/ 1390650 h 1866900"/>
                <a:gd name="connsiteX54" fmla="*/ 119062 w 1905000"/>
                <a:gd name="connsiteY54" fmla="*/ 1381125 h 1866900"/>
                <a:gd name="connsiteX55" fmla="*/ 95250 w 1905000"/>
                <a:gd name="connsiteY55" fmla="*/ 1333500 h 1866900"/>
                <a:gd name="connsiteX56" fmla="*/ 1810703 w 1905000"/>
                <a:gd name="connsiteY56" fmla="*/ 1333500 h 1866900"/>
                <a:gd name="connsiteX57" fmla="*/ 1805940 w 1905000"/>
                <a:gd name="connsiteY57" fmla="*/ 1343025 h 1866900"/>
                <a:gd name="connsiteX58" fmla="*/ 100013 w 1905000"/>
                <a:gd name="connsiteY58" fmla="*/ 1343025 h 1866900"/>
                <a:gd name="connsiteX59" fmla="*/ 95250 w 1905000"/>
                <a:gd name="connsiteY59" fmla="*/ 1333500 h 1866900"/>
                <a:gd name="connsiteX60" fmla="*/ 73342 w 1905000"/>
                <a:gd name="connsiteY60" fmla="*/ 1285875 h 1866900"/>
                <a:gd name="connsiteX61" fmla="*/ 1830705 w 1905000"/>
                <a:gd name="connsiteY61" fmla="*/ 1285875 h 1866900"/>
                <a:gd name="connsiteX62" fmla="*/ 1826895 w 1905000"/>
                <a:gd name="connsiteY62" fmla="*/ 1295400 h 1866900"/>
                <a:gd name="connsiteX63" fmla="*/ 77152 w 1905000"/>
                <a:gd name="connsiteY63" fmla="*/ 1295400 h 1866900"/>
                <a:gd name="connsiteX64" fmla="*/ 73342 w 1905000"/>
                <a:gd name="connsiteY64" fmla="*/ 1285875 h 1866900"/>
                <a:gd name="connsiteX65" fmla="*/ 55245 w 1905000"/>
                <a:gd name="connsiteY65" fmla="*/ 1238250 h 1866900"/>
                <a:gd name="connsiteX66" fmla="*/ 1850708 w 1905000"/>
                <a:gd name="connsiteY66" fmla="*/ 1238250 h 1866900"/>
                <a:gd name="connsiteX67" fmla="*/ 1846898 w 1905000"/>
                <a:gd name="connsiteY67" fmla="*/ 1247775 h 1866900"/>
                <a:gd name="connsiteX68" fmla="*/ 59055 w 1905000"/>
                <a:gd name="connsiteY68" fmla="*/ 1247775 h 1866900"/>
                <a:gd name="connsiteX69" fmla="*/ 55245 w 1905000"/>
                <a:gd name="connsiteY69" fmla="*/ 1238250 h 1866900"/>
                <a:gd name="connsiteX70" fmla="*/ 40004 w 1905000"/>
                <a:gd name="connsiteY70" fmla="*/ 1190625 h 1866900"/>
                <a:gd name="connsiteX71" fmla="*/ 1865947 w 1905000"/>
                <a:gd name="connsiteY71" fmla="*/ 1190625 h 1866900"/>
                <a:gd name="connsiteX72" fmla="*/ 1863089 w 1905000"/>
                <a:gd name="connsiteY72" fmla="*/ 1200150 h 1866900"/>
                <a:gd name="connsiteX73" fmla="*/ 42862 w 1905000"/>
                <a:gd name="connsiteY73" fmla="*/ 1200150 h 1866900"/>
                <a:gd name="connsiteX74" fmla="*/ 40004 w 1905000"/>
                <a:gd name="connsiteY74" fmla="*/ 1190625 h 1866900"/>
                <a:gd name="connsiteX75" fmla="*/ 26669 w 1905000"/>
                <a:gd name="connsiteY75" fmla="*/ 1143000 h 1866900"/>
                <a:gd name="connsiteX76" fmla="*/ 1878329 w 1905000"/>
                <a:gd name="connsiteY76" fmla="*/ 1143000 h 1866900"/>
                <a:gd name="connsiteX77" fmla="*/ 1876424 w 1905000"/>
                <a:gd name="connsiteY77" fmla="*/ 1152525 h 1866900"/>
                <a:gd name="connsiteX78" fmla="*/ 29526 w 1905000"/>
                <a:gd name="connsiteY78" fmla="*/ 1152525 h 1866900"/>
                <a:gd name="connsiteX79" fmla="*/ 26669 w 1905000"/>
                <a:gd name="connsiteY79" fmla="*/ 1143000 h 1866900"/>
                <a:gd name="connsiteX80" fmla="*/ 16192 w 1905000"/>
                <a:gd name="connsiteY80" fmla="*/ 1095375 h 1866900"/>
                <a:gd name="connsiteX81" fmla="*/ 1888807 w 1905000"/>
                <a:gd name="connsiteY81" fmla="*/ 1095375 h 1866900"/>
                <a:gd name="connsiteX82" fmla="*/ 1886902 w 1905000"/>
                <a:gd name="connsiteY82" fmla="*/ 1104900 h 1866900"/>
                <a:gd name="connsiteX83" fmla="*/ 18097 w 1905000"/>
                <a:gd name="connsiteY83" fmla="*/ 1104900 h 1866900"/>
                <a:gd name="connsiteX84" fmla="*/ 16192 w 1905000"/>
                <a:gd name="connsiteY84" fmla="*/ 1095375 h 1866900"/>
                <a:gd name="connsiteX85" fmla="*/ 8572 w 1905000"/>
                <a:gd name="connsiteY85" fmla="*/ 1047750 h 1866900"/>
                <a:gd name="connsiteX86" fmla="*/ 1896427 w 1905000"/>
                <a:gd name="connsiteY86" fmla="*/ 1047750 h 1866900"/>
                <a:gd name="connsiteX87" fmla="*/ 1895475 w 1905000"/>
                <a:gd name="connsiteY87" fmla="*/ 1057275 h 1866900"/>
                <a:gd name="connsiteX88" fmla="*/ 9525 w 1905000"/>
                <a:gd name="connsiteY88" fmla="*/ 1057275 h 1866900"/>
                <a:gd name="connsiteX89" fmla="*/ 8572 w 1905000"/>
                <a:gd name="connsiteY89" fmla="*/ 1047750 h 1866900"/>
                <a:gd name="connsiteX90" fmla="*/ 3810 w 1905000"/>
                <a:gd name="connsiteY90" fmla="*/ 1000125 h 1866900"/>
                <a:gd name="connsiteX91" fmla="*/ 1902143 w 1905000"/>
                <a:gd name="connsiteY91" fmla="*/ 1000125 h 1866900"/>
                <a:gd name="connsiteX92" fmla="*/ 1901190 w 1905000"/>
                <a:gd name="connsiteY92" fmla="*/ 1009650 h 1866900"/>
                <a:gd name="connsiteX93" fmla="*/ 4762 w 1905000"/>
                <a:gd name="connsiteY93" fmla="*/ 1009650 h 1866900"/>
                <a:gd name="connsiteX94" fmla="*/ 3810 w 1905000"/>
                <a:gd name="connsiteY94" fmla="*/ 1000125 h 1866900"/>
                <a:gd name="connsiteX95" fmla="*/ 952 w 1905000"/>
                <a:gd name="connsiteY95" fmla="*/ 952500 h 1866900"/>
                <a:gd name="connsiteX96" fmla="*/ 1904047 w 1905000"/>
                <a:gd name="connsiteY96" fmla="*/ 952500 h 1866900"/>
                <a:gd name="connsiteX97" fmla="*/ 1904047 w 1905000"/>
                <a:gd name="connsiteY97" fmla="*/ 962025 h 1866900"/>
                <a:gd name="connsiteX98" fmla="*/ 952 w 1905000"/>
                <a:gd name="connsiteY98" fmla="*/ 962025 h 1866900"/>
                <a:gd name="connsiteX99" fmla="*/ 952 w 1905000"/>
                <a:gd name="connsiteY99" fmla="*/ 952500 h 1866900"/>
                <a:gd name="connsiteX100" fmla="*/ 0 w 1905000"/>
                <a:gd name="connsiteY100" fmla="*/ 904875 h 1866900"/>
                <a:gd name="connsiteX101" fmla="*/ 1905000 w 1905000"/>
                <a:gd name="connsiteY101" fmla="*/ 904875 h 1866900"/>
                <a:gd name="connsiteX102" fmla="*/ 1905000 w 1905000"/>
                <a:gd name="connsiteY102" fmla="*/ 914400 h 1866900"/>
                <a:gd name="connsiteX103" fmla="*/ 0 w 1905000"/>
                <a:gd name="connsiteY103" fmla="*/ 914400 h 1866900"/>
                <a:gd name="connsiteX104" fmla="*/ 0 w 1905000"/>
                <a:gd name="connsiteY104" fmla="*/ 904875 h 1866900"/>
                <a:gd name="connsiteX105" fmla="*/ 1905 w 1905000"/>
                <a:gd name="connsiteY105" fmla="*/ 857250 h 1866900"/>
                <a:gd name="connsiteX106" fmla="*/ 1902142 w 1905000"/>
                <a:gd name="connsiteY106" fmla="*/ 857250 h 1866900"/>
                <a:gd name="connsiteX107" fmla="*/ 1903095 w 1905000"/>
                <a:gd name="connsiteY107" fmla="*/ 866775 h 1866900"/>
                <a:gd name="connsiteX108" fmla="*/ 952 w 1905000"/>
                <a:gd name="connsiteY108" fmla="*/ 866775 h 1866900"/>
                <a:gd name="connsiteX109" fmla="*/ 1905 w 1905000"/>
                <a:gd name="connsiteY109" fmla="*/ 857250 h 1866900"/>
                <a:gd name="connsiteX110" fmla="*/ 6667 w 1905000"/>
                <a:gd name="connsiteY110" fmla="*/ 809625 h 1866900"/>
                <a:gd name="connsiteX111" fmla="*/ 1899285 w 1905000"/>
                <a:gd name="connsiteY111" fmla="*/ 809625 h 1866900"/>
                <a:gd name="connsiteX112" fmla="*/ 1900238 w 1905000"/>
                <a:gd name="connsiteY112" fmla="*/ 819150 h 1866900"/>
                <a:gd name="connsiteX113" fmla="*/ 5715 w 1905000"/>
                <a:gd name="connsiteY113" fmla="*/ 819150 h 1866900"/>
                <a:gd name="connsiteX114" fmla="*/ 6667 w 1905000"/>
                <a:gd name="connsiteY114" fmla="*/ 809625 h 1866900"/>
                <a:gd name="connsiteX115" fmla="*/ 13335 w 1905000"/>
                <a:gd name="connsiteY115" fmla="*/ 762000 h 1866900"/>
                <a:gd name="connsiteX116" fmla="*/ 1891665 w 1905000"/>
                <a:gd name="connsiteY116" fmla="*/ 762000 h 1866900"/>
                <a:gd name="connsiteX117" fmla="*/ 1893570 w 1905000"/>
                <a:gd name="connsiteY117" fmla="*/ 771525 h 1866900"/>
                <a:gd name="connsiteX118" fmla="*/ 11430 w 1905000"/>
                <a:gd name="connsiteY118" fmla="*/ 771525 h 1866900"/>
                <a:gd name="connsiteX119" fmla="*/ 13335 w 1905000"/>
                <a:gd name="connsiteY119" fmla="*/ 762000 h 1866900"/>
                <a:gd name="connsiteX120" fmla="*/ 21907 w 1905000"/>
                <a:gd name="connsiteY120" fmla="*/ 714375 h 1866900"/>
                <a:gd name="connsiteX121" fmla="*/ 1883092 w 1905000"/>
                <a:gd name="connsiteY121" fmla="*/ 714375 h 1866900"/>
                <a:gd name="connsiteX122" fmla="*/ 1884997 w 1905000"/>
                <a:gd name="connsiteY122" fmla="*/ 723900 h 1866900"/>
                <a:gd name="connsiteX123" fmla="*/ 20002 w 1905000"/>
                <a:gd name="connsiteY123" fmla="*/ 723900 h 1866900"/>
                <a:gd name="connsiteX124" fmla="*/ 21907 w 1905000"/>
                <a:gd name="connsiteY124" fmla="*/ 714375 h 1866900"/>
                <a:gd name="connsiteX125" fmla="*/ 34289 w 1905000"/>
                <a:gd name="connsiteY125" fmla="*/ 666750 h 1866900"/>
                <a:gd name="connsiteX126" fmla="*/ 1870710 w 1905000"/>
                <a:gd name="connsiteY126" fmla="*/ 666750 h 1866900"/>
                <a:gd name="connsiteX127" fmla="*/ 1873567 w 1905000"/>
                <a:gd name="connsiteY127" fmla="*/ 676275 h 1866900"/>
                <a:gd name="connsiteX128" fmla="*/ 31432 w 1905000"/>
                <a:gd name="connsiteY128" fmla="*/ 676275 h 1866900"/>
                <a:gd name="connsiteX129" fmla="*/ 34289 w 1905000"/>
                <a:gd name="connsiteY129" fmla="*/ 666750 h 1866900"/>
                <a:gd name="connsiteX130" fmla="*/ 48577 w 1905000"/>
                <a:gd name="connsiteY130" fmla="*/ 619125 h 1866900"/>
                <a:gd name="connsiteX131" fmla="*/ 1857375 w 1905000"/>
                <a:gd name="connsiteY131" fmla="*/ 619125 h 1866900"/>
                <a:gd name="connsiteX132" fmla="*/ 1860233 w 1905000"/>
                <a:gd name="connsiteY132" fmla="*/ 628650 h 1866900"/>
                <a:gd name="connsiteX133" fmla="*/ 45720 w 1905000"/>
                <a:gd name="connsiteY133" fmla="*/ 628650 h 1866900"/>
                <a:gd name="connsiteX134" fmla="*/ 48577 w 1905000"/>
                <a:gd name="connsiteY134" fmla="*/ 619125 h 1866900"/>
                <a:gd name="connsiteX135" fmla="*/ 65722 w 1905000"/>
                <a:gd name="connsiteY135" fmla="*/ 571500 h 1866900"/>
                <a:gd name="connsiteX136" fmla="*/ 1839277 w 1905000"/>
                <a:gd name="connsiteY136" fmla="*/ 571500 h 1866900"/>
                <a:gd name="connsiteX137" fmla="*/ 1843087 w 1905000"/>
                <a:gd name="connsiteY137" fmla="*/ 581025 h 1866900"/>
                <a:gd name="connsiteX138" fmla="*/ 61912 w 1905000"/>
                <a:gd name="connsiteY138" fmla="*/ 581025 h 1866900"/>
                <a:gd name="connsiteX139" fmla="*/ 65722 w 1905000"/>
                <a:gd name="connsiteY139" fmla="*/ 571500 h 1866900"/>
                <a:gd name="connsiteX140" fmla="*/ 85725 w 1905000"/>
                <a:gd name="connsiteY140" fmla="*/ 523875 h 1866900"/>
                <a:gd name="connsiteX141" fmla="*/ 1819275 w 1905000"/>
                <a:gd name="connsiteY141" fmla="*/ 523875 h 1866900"/>
                <a:gd name="connsiteX142" fmla="*/ 1823085 w 1905000"/>
                <a:gd name="connsiteY142" fmla="*/ 533400 h 1866900"/>
                <a:gd name="connsiteX143" fmla="*/ 80962 w 1905000"/>
                <a:gd name="connsiteY143" fmla="*/ 533400 h 1866900"/>
                <a:gd name="connsiteX144" fmla="*/ 85725 w 1905000"/>
                <a:gd name="connsiteY144" fmla="*/ 523875 h 1866900"/>
                <a:gd name="connsiteX145" fmla="*/ 109538 w 1905000"/>
                <a:gd name="connsiteY145" fmla="*/ 476250 h 1866900"/>
                <a:gd name="connsiteX146" fmla="*/ 1796415 w 1905000"/>
                <a:gd name="connsiteY146" fmla="*/ 476250 h 1866900"/>
                <a:gd name="connsiteX147" fmla="*/ 1801178 w 1905000"/>
                <a:gd name="connsiteY147" fmla="*/ 485775 h 1866900"/>
                <a:gd name="connsiteX148" fmla="*/ 104775 w 1905000"/>
                <a:gd name="connsiteY148" fmla="*/ 485775 h 1866900"/>
                <a:gd name="connsiteX149" fmla="*/ 109538 w 1905000"/>
                <a:gd name="connsiteY149" fmla="*/ 476250 h 1866900"/>
                <a:gd name="connsiteX150" fmla="*/ 136207 w 1905000"/>
                <a:gd name="connsiteY150" fmla="*/ 428625 h 1866900"/>
                <a:gd name="connsiteX151" fmla="*/ 1768792 w 1905000"/>
                <a:gd name="connsiteY151" fmla="*/ 428625 h 1866900"/>
                <a:gd name="connsiteX152" fmla="*/ 1774507 w 1905000"/>
                <a:gd name="connsiteY152" fmla="*/ 438150 h 1866900"/>
                <a:gd name="connsiteX153" fmla="*/ 130492 w 1905000"/>
                <a:gd name="connsiteY153" fmla="*/ 438150 h 1866900"/>
                <a:gd name="connsiteX154" fmla="*/ 136207 w 1905000"/>
                <a:gd name="connsiteY154" fmla="*/ 428625 h 1866900"/>
                <a:gd name="connsiteX155" fmla="*/ 166687 w 1905000"/>
                <a:gd name="connsiteY155" fmla="*/ 381000 h 1866900"/>
                <a:gd name="connsiteX156" fmla="*/ 1738312 w 1905000"/>
                <a:gd name="connsiteY156" fmla="*/ 381000 h 1866900"/>
                <a:gd name="connsiteX157" fmla="*/ 1744979 w 1905000"/>
                <a:gd name="connsiteY157" fmla="*/ 390525 h 1866900"/>
                <a:gd name="connsiteX158" fmla="*/ 160019 w 1905000"/>
                <a:gd name="connsiteY158" fmla="*/ 390525 h 1866900"/>
                <a:gd name="connsiteX159" fmla="*/ 166687 w 1905000"/>
                <a:gd name="connsiteY159" fmla="*/ 381000 h 1866900"/>
                <a:gd name="connsiteX160" fmla="*/ 201929 w 1905000"/>
                <a:gd name="connsiteY160" fmla="*/ 333375 h 1866900"/>
                <a:gd name="connsiteX161" fmla="*/ 1704022 w 1905000"/>
                <a:gd name="connsiteY161" fmla="*/ 333375 h 1866900"/>
                <a:gd name="connsiteX162" fmla="*/ 1711642 w 1905000"/>
                <a:gd name="connsiteY162" fmla="*/ 342900 h 1866900"/>
                <a:gd name="connsiteX163" fmla="*/ 194309 w 1905000"/>
                <a:gd name="connsiteY163" fmla="*/ 342900 h 1866900"/>
                <a:gd name="connsiteX164" fmla="*/ 201929 w 1905000"/>
                <a:gd name="connsiteY164" fmla="*/ 333375 h 1866900"/>
                <a:gd name="connsiteX165" fmla="*/ 240981 w 1905000"/>
                <a:gd name="connsiteY165" fmla="*/ 285750 h 1866900"/>
                <a:gd name="connsiteX166" fmla="*/ 1664017 w 1905000"/>
                <a:gd name="connsiteY166" fmla="*/ 285750 h 1866900"/>
                <a:gd name="connsiteX167" fmla="*/ 1672589 w 1905000"/>
                <a:gd name="connsiteY167" fmla="*/ 295275 h 1866900"/>
                <a:gd name="connsiteX168" fmla="*/ 232409 w 1905000"/>
                <a:gd name="connsiteY168" fmla="*/ 295275 h 1866900"/>
                <a:gd name="connsiteX169" fmla="*/ 240981 w 1905000"/>
                <a:gd name="connsiteY169" fmla="*/ 285750 h 1866900"/>
                <a:gd name="connsiteX170" fmla="*/ 286702 w 1905000"/>
                <a:gd name="connsiteY170" fmla="*/ 238125 h 1866900"/>
                <a:gd name="connsiteX171" fmla="*/ 1619250 w 1905000"/>
                <a:gd name="connsiteY171" fmla="*/ 238125 h 1866900"/>
                <a:gd name="connsiteX172" fmla="*/ 1628775 w 1905000"/>
                <a:gd name="connsiteY172" fmla="*/ 247650 h 1866900"/>
                <a:gd name="connsiteX173" fmla="*/ 277177 w 1905000"/>
                <a:gd name="connsiteY173" fmla="*/ 247650 h 1866900"/>
                <a:gd name="connsiteX174" fmla="*/ 286702 w 1905000"/>
                <a:gd name="connsiteY174" fmla="*/ 238125 h 1866900"/>
                <a:gd name="connsiteX175" fmla="*/ 339090 w 1905000"/>
                <a:gd name="connsiteY175" fmla="*/ 190500 h 1866900"/>
                <a:gd name="connsiteX176" fmla="*/ 1565910 w 1905000"/>
                <a:gd name="connsiteY176" fmla="*/ 190500 h 1866900"/>
                <a:gd name="connsiteX177" fmla="*/ 1577340 w 1905000"/>
                <a:gd name="connsiteY177" fmla="*/ 200025 h 1866900"/>
                <a:gd name="connsiteX178" fmla="*/ 327660 w 1905000"/>
                <a:gd name="connsiteY178" fmla="*/ 200025 h 1866900"/>
                <a:gd name="connsiteX179" fmla="*/ 339090 w 1905000"/>
                <a:gd name="connsiteY179" fmla="*/ 190500 h 1866900"/>
                <a:gd name="connsiteX180" fmla="*/ 400049 w 1905000"/>
                <a:gd name="connsiteY180" fmla="*/ 142875 h 1866900"/>
                <a:gd name="connsiteX181" fmla="*/ 1503997 w 1905000"/>
                <a:gd name="connsiteY181" fmla="*/ 142875 h 1866900"/>
                <a:gd name="connsiteX182" fmla="*/ 1517332 w 1905000"/>
                <a:gd name="connsiteY182" fmla="*/ 152400 h 1866900"/>
                <a:gd name="connsiteX183" fmla="*/ 386714 w 1905000"/>
                <a:gd name="connsiteY183" fmla="*/ 152400 h 1866900"/>
                <a:gd name="connsiteX184" fmla="*/ 400049 w 1905000"/>
                <a:gd name="connsiteY184" fmla="*/ 142875 h 1866900"/>
                <a:gd name="connsiteX185" fmla="*/ 474345 w 1905000"/>
                <a:gd name="connsiteY185" fmla="*/ 95250 h 1866900"/>
                <a:gd name="connsiteX186" fmla="*/ 1429702 w 1905000"/>
                <a:gd name="connsiteY186" fmla="*/ 95250 h 1866900"/>
                <a:gd name="connsiteX187" fmla="*/ 1445895 w 1905000"/>
                <a:gd name="connsiteY187" fmla="*/ 104775 h 1866900"/>
                <a:gd name="connsiteX188" fmla="*/ 458152 w 1905000"/>
                <a:gd name="connsiteY188" fmla="*/ 104775 h 1866900"/>
                <a:gd name="connsiteX189" fmla="*/ 474345 w 1905000"/>
                <a:gd name="connsiteY189" fmla="*/ 95250 h 1866900"/>
                <a:gd name="connsiteX190" fmla="*/ 568642 w 1905000"/>
                <a:gd name="connsiteY190" fmla="*/ 47625 h 1866900"/>
                <a:gd name="connsiteX191" fmla="*/ 1337309 w 1905000"/>
                <a:gd name="connsiteY191" fmla="*/ 47625 h 1866900"/>
                <a:gd name="connsiteX192" fmla="*/ 1358265 w 1905000"/>
                <a:gd name="connsiteY192" fmla="*/ 57150 h 1866900"/>
                <a:gd name="connsiteX193" fmla="*/ 547687 w 1905000"/>
                <a:gd name="connsiteY193" fmla="*/ 57150 h 1866900"/>
                <a:gd name="connsiteX194" fmla="*/ 568642 w 1905000"/>
                <a:gd name="connsiteY194" fmla="*/ 47625 h 1866900"/>
                <a:gd name="connsiteX195" fmla="*/ 702945 w 1905000"/>
                <a:gd name="connsiteY195" fmla="*/ 0 h 1866900"/>
                <a:gd name="connsiteX196" fmla="*/ 1203960 w 1905000"/>
                <a:gd name="connsiteY196" fmla="*/ 0 h 1866900"/>
                <a:gd name="connsiteX197" fmla="*/ 1236345 w 1905000"/>
                <a:gd name="connsiteY197" fmla="*/ 9525 h 1866900"/>
                <a:gd name="connsiteX198" fmla="*/ 670560 w 1905000"/>
                <a:gd name="connsiteY198" fmla="*/ 9525 h 1866900"/>
                <a:gd name="connsiteX199" fmla="*/ 702945 w 1905000"/>
                <a:gd name="connsiteY199" fmla="*/ 0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905000" h="1866900">
                  <a:moveTo>
                    <a:pt x="786764" y="1857375"/>
                  </a:moveTo>
                  <a:lnTo>
                    <a:pt x="1116329" y="1857375"/>
                  </a:lnTo>
                  <a:cubicBezTo>
                    <a:pt x="1093469" y="1861185"/>
                    <a:pt x="1070609" y="1864995"/>
                    <a:pt x="1047749" y="1866900"/>
                  </a:cubicBezTo>
                  <a:lnTo>
                    <a:pt x="855344" y="1866900"/>
                  </a:lnTo>
                  <a:cubicBezTo>
                    <a:pt x="832484" y="1864995"/>
                    <a:pt x="809624" y="1861185"/>
                    <a:pt x="786764" y="1857375"/>
                  </a:cubicBezTo>
                  <a:close/>
                  <a:moveTo>
                    <a:pt x="614362" y="1809750"/>
                  </a:moveTo>
                  <a:lnTo>
                    <a:pt x="1290637" y="1809750"/>
                  </a:lnTo>
                  <a:cubicBezTo>
                    <a:pt x="1281112" y="1812608"/>
                    <a:pt x="1272540" y="1816417"/>
                    <a:pt x="1263967" y="1819275"/>
                  </a:cubicBezTo>
                  <a:lnTo>
                    <a:pt x="640079" y="1819275"/>
                  </a:lnTo>
                  <a:cubicBezTo>
                    <a:pt x="631507" y="1816417"/>
                    <a:pt x="622935" y="1812608"/>
                    <a:pt x="614362" y="1809750"/>
                  </a:cubicBezTo>
                  <a:close/>
                  <a:moveTo>
                    <a:pt x="509587" y="1762125"/>
                  </a:moveTo>
                  <a:lnTo>
                    <a:pt x="1396365" y="1762125"/>
                  </a:lnTo>
                  <a:cubicBezTo>
                    <a:pt x="1389697" y="1764983"/>
                    <a:pt x="1383982" y="1768792"/>
                    <a:pt x="1377315" y="1771650"/>
                  </a:cubicBezTo>
                  <a:lnTo>
                    <a:pt x="527685" y="1771650"/>
                  </a:lnTo>
                  <a:cubicBezTo>
                    <a:pt x="521969" y="1768792"/>
                    <a:pt x="515302" y="1764983"/>
                    <a:pt x="509587" y="1762125"/>
                  </a:cubicBezTo>
                  <a:close/>
                  <a:moveTo>
                    <a:pt x="428625" y="1714500"/>
                  </a:moveTo>
                  <a:lnTo>
                    <a:pt x="1478280" y="1714500"/>
                  </a:lnTo>
                  <a:cubicBezTo>
                    <a:pt x="1472565" y="1717358"/>
                    <a:pt x="1467803" y="1721167"/>
                    <a:pt x="1463040" y="1724025"/>
                  </a:cubicBezTo>
                  <a:lnTo>
                    <a:pt x="443865" y="1724025"/>
                  </a:lnTo>
                  <a:cubicBezTo>
                    <a:pt x="438150" y="1721167"/>
                    <a:pt x="433388" y="1717358"/>
                    <a:pt x="428625" y="1714500"/>
                  </a:cubicBezTo>
                  <a:close/>
                  <a:moveTo>
                    <a:pt x="362902" y="1666875"/>
                  </a:moveTo>
                  <a:lnTo>
                    <a:pt x="1544002" y="1666875"/>
                  </a:lnTo>
                  <a:cubicBezTo>
                    <a:pt x="1540192" y="1669733"/>
                    <a:pt x="1535430" y="1673542"/>
                    <a:pt x="1531620" y="1676400"/>
                  </a:cubicBezTo>
                  <a:lnTo>
                    <a:pt x="375285" y="1676400"/>
                  </a:lnTo>
                  <a:cubicBezTo>
                    <a:pt x="370522" y="1673542"/>
                    <a:pt x="366712" y="1669733"/>
                    <a:pt x="362902" y="1666875"/>
                  </a:cubicBezTo>
                  <a:close/>
                  <a:moveTo>
                    <a:pt x="306705" y="1619250"/>
                  </a:moveTo>
                  <a:lnTo>
                    <a:pt x="1599247" y="1619250"/>
                  </a:lnTo>
                  <a:cubicBezTo>
                    <a:pt x="1595438" y="1622108"/>
                    <a:pt x="1592580" y="1625917"/>
                    <a:pt x="1588770" y="1628775"/>
                  </a:cubicBezTo>
                  <a:lnTo>
                    <a:pt x="317182" y="1628775"/>
                  </a:lnTo>
                  <a:cubicBezTo>
                    <a:pt x="313373" y="1625917"/>
                    <a:pt x="310515" y="1622108"/>
                    <a:pt x="306705" y="1619250"/>
                  </a:cubicBezTo>
                  <a:close/>
                  <a:moveTo>
                    <a:pt x="258127" y="1571625"/>
                  </a:moveTo>
                  <a:lnTo>
                    <a:pt x="1646872" y="1571625"/>
                  </a:lnTo>
                  <a:cubicBezTo>
                    <a:pt x="1643062" y="1574483"/>
                    <a:pt x="1640205" y="1578292"/>
                    <a:pt x="1637347" y="1581150"/>
                  </a:cubicBezTo>
                  <a:lnTo>
                    <a:pt x="266699" y="1581150"/>
                  </a:lnTo>
                  <a:cubicBezTo>
                    <a:pt x="263842" y="1578292"/>
                    <a:pt x="260984" y="1574483"/>
                    <a:pt x="258127" y="1571625"/>
                  </a:cubicBezTo>
                  <a:close/>
                  <a:moveTo>
                    <a:pt x="216217" y="1524000"/>
                  </a:moveTo>
                  <a:lnTo>
                    <a:pt x="1687830" y="1524000"/>
                  </a:lnTo>
                  <a:cubicBezTo>
                    <a:pt x="1684972" y="1526858"/>
                    <a:pt x="1683067" y="1530667"/>
                    <a:pt x="1680209" y="1533525"/>
                  </a:cubicBezTo>
                  <a:lnTo>
                    <a:pt x="223837" y="1533525"/>
                  </a:lnTo>
                  <a:cubicBezTo>
                    <a:pt x="221932" y="1530667"/>
                    <a:pt x="219074" y="1526858"/>
                    <a:pt x="216217" y="1524000"/>
                  </a:cubicBezTo>
                  <a:close/>
                  <a:moveTo>
                    <a:pt x="180022" y="1476375"/>
                  </a:moveTo>
                  <a:lnTo>
                    <a:pt x="1724977" y="1476375"/>
                  </a:lnTo>
                  <a:cubicBezTo>
                    <a:pt x="1723072" y="1479233"/>
                    <a:pt x="1720215" y="1483042"/>
                    <a:pt x="1718310" y="1485900"/>
                  </a:cubicBezTo>
                  <a:lnTo>
                    <a:pt x="186690" y="1485900"/>
                  </a:lnTo>
                  <a:cubicBezTo>
                    <a:pt x="184785" y="1483042"/>
                    <a:pt x="181927" y="1479233"/>
                    <a:pt x="180022" y="1476375"/>
                  </a:cubicBezTo>
                  <a:close/>
                  <a:moveTo>
                    <a:pt x="147637" y="1428750"/>
                  </a:moveTo>
                  <a:lnTo>
                    <a:pt x="1756410" y="1428750"/>
                  </a:lnTo>
                  <a:cubicBezTo>
                    <a:pt x="1754505" y="1431608"/>
                    <a:pt x="1752600" y="1435417"/>
                    <a:pt x="1750695" y="1438275"/>
                  </a:cubicBezTo>
                  <a:lnTo>
                    <a:pt x="153352" y="1438275"/>
                  </a:lnTo>
                  <a:cubicBezTo>
                    <a:pt x="151447" y="1435417"/>
                    <a:pt x="149542" y="1431608"/>
                    <a:pt x="147637" y="1428750"/>
                  </a:cubicBezTo>
                  <a:close/>
                  <a:moveTo>
                    <a:pt x="119062" y="1381125"/>
                  </a:moveTo>
                  <a:lnTo>
                    <a:pt x="1785937" y="1381125"/>
                  </a:lnTo>
                  <a:cubicBezTo>
                    <a:pt x="1784032" y="1383983"/>
                    <a:pt x="1782127" y="1387792"/>
                    <a:pt x="1780222" y="1390650"/>
                  </a:cubicBezTo>
                  <a:lnTo>
                    <a:pt x="124777" y="1390650"/>
                  </a:lnTo>
                  <a:cubicBezTo>
                    <a:pt x="122872" y="1387792"/>
                    <a:pt x="120967" y="1383983"/>
                    <a:pt x="119062" y="1381125"/>
                  </a:cubicBezTo>
                  <a:close/>
                  <a:moveTo>
                    <a:pt x="95250" y="1333500"/>
                  </a:moveTo>
                  <a:lnTo>
                    <a:pt x="1810703" y="1333500"/>
                  </a:lnTo>
                  <a:cubicBezTo>
                    <a:pt x="1808798" y="1336358"/>
                    <a:pt x="1807845" y="1340167"/>
                    <a:pt x="1805940" y="1343025"/>
                  </a:cubicBezTo>
                  <a:lnTo>
                    <a:pt x="100013" y="1343025"/>
                  </a:lnTo>
                  <a:cubicBezTo>
                    <a:pt x="98108" y="1340167"/>
                    <a:pt x="97155" y="1336358"/>
                    <a:pt x="95250" y="1333500"/>
                  </a:cubicBezTo>
                  <a:close/>
                  <a:moveTo>
                    <a:pt x="73342" y="1285875"/>
                  </a:moveTo>
                  <a:lnTo>
                    <a:pt x="1830705" y="1285875"/>
                  </a:lnTo>
                  <a:cubicBezTo>
                    <a:pt x="1829752" y="1288733"/>
                    <a:pt x="1827847" y="1292542"/>
                    <a:pt x="1826895" y="1295400"/>
                  </a:cubicBezTo>
                  <a:lnTo>
                    <a:pt x="77152" y="1295400"/>
                  </a:lnTo>
                  <a:cubicBezTo>
                    <a:pt x="76200" y="1292542"/>
                    <a:pt x="74295" y="1288733"/>
                    <a:pt x="73342" y="1285875"/>
                  </a:cubicBezTo>
                  <a:close/>
                  <a:moveTo>
                    <a:pt x="55245" y="1238250"/>
                  </a:moveTo>
                  <a:lnTo>
                    <a:pt x="1850708" y="1238250"/>
                  </a:lnTo>
                  <a:cubicBezTo>
                    <a:pt x="1848803" y="1241108"/>
                    <a:pt x="1847850" y="1244917"/>
                    <a:pt x="1846898" y="1247775"/>
                  </a:cubicBezTo>
                  <a:lnTo>
                    <a:pt x="59055" y="1247775"/>
                  </a:lnTo>
                  <a:cubicBezTo>
                    <a:pt x="57150" y="1244917"/>
                    <a:pt x="56197" y="1241108"/>
                    <a:pt x="55245" y="1238250"/>
                  </a:cubicBezTo>
                  <a:close/>
                  <a:moveTo>
                    <a:pt x="40004" y="1190625"/>
                  </a:moveTo>
                  <a:lnTo>
                    <a:pt x="1865947" y="1190625"/>
                  </a:lnTo>
                  <a:cubicBezTo>
                    <a:pt x="1864994" y="1193483"/>
                    <a:pt x="1864042" y="1197292"/>
                    <a:pt x="1863089" y="1200150"/>
                  </a:cubicBezTo>
                  <a:lnTo>
                    <a:pt x="42862" y="1200150"/>
                  </a:lnTo>
                  <a:cubicBezTo>
                    <a:pt x="41909" y="1197292"/>
                    <a:pt x="40957" y="1193483"/>
                    <a:pt x="40004" y="1190625"/>
                  </a:cubicBezTo>
                  <a:close/>
                  <a:moveTo>
                    <a:pt x="26669" y="1143000"/>
                  </a:moveTo>
                  <a:lnTo>
                    <a:pt x="1878329" y="1143000"/>
                  </a:lnTo>
                  <a:cubicBezTo>
                    <a:pt x="1878329" y="1145858"/>
                    <a:pt x="1877377" y="1149667"/>
                    <a:pt x="1876424" y="1152525"/>
                  </a:cubicBezTo>
                  <a:lnTo>
                    <a:pt x="29526" y="1152525"/>
                  </a:lnTo>
                  <a:cubicBezTo>
                    <a:pt x="28574" y="1149667"/>
                    <a:pt x="27622" y="1145858"/>
                    <a:pt x="26669" y="1143000"/>
                  </a:cubicBezTo>
                  <a:close/>
                  <a:moveTo>
                    <a:pt x="16192" y="1095375"/>
                  </a:moveTo>
                  <a:lnTo>
                    <a:pt x="1888807" y="1095375"/>
                  </a:lnTo>
                  <a:cubicBezTo>
                    <a:pt x="1887855" y="1098233"/>
                    <a:pt x="1887855" y="1102042"/>
                    <a:pt x="1886902" y="1104900"/>
                  </a:cubicBezTo>
                  <a:lnTo>
                    <a:pt x="18097" y="1104900"/>
                  </a:lnTo>
                  <a:cubicBezTo>
                    <a:pt x="17144" y="1102042"/>
                    <a:pt x="17144" y="1098233"/>
                    <a:pt x="16192" y="1095375"/>
                  </a:cubicBezTo>
                  <a:close/>
                  <a:moveTo>
                    <a:pt x="8572" y="1047750"/>
                  </a:moveTo>
                  <a:lnTo>
                    <a:pt x="1896427" y="1047750"/>
                  </a:lnTo>
                  <a:cubicBezTo>
                    <a:pt x="1896427" y="1050608"/>
                    <a:pt x="1895475" y="1054417"/>
                    <a:pt x="1895475" y="1057275"/>
                  </a:cubicBezTo>
                  <a:lnTo>
                    <a:pt x="9525" y="1057275"/>
                  </a:lnTo>
                  <a:cubicBezTo>
                    <a:pt x="9525" y="1054417"/>
                    <a:pt x="8572" y="1050608"/>
                    <a:pt x="8572" y="1047750"/>
                  </a:cubicBezTo>
                  <a:close/>
                  <a:moveTo>
                    <a:pt x="3810" y="1000125"/>
                  </a:moveTo>
                  <a:lnTo>
                    <a:pt x="1902143" y="1000125"/>
                  </a:lnTo>
                  <a:cubicBezTo>
                    <a:pt x="1902143" y="1002983"/>
                    <a:pt x="1901190" y="1006792"/>
                    <a:pt x="1901190" y="1009650"/>
                  </a:cubicBezTo>
                  <a:lnTo>
                    <a:pt x="4762" y="1009650"/>
                  </a:lnTo>
                  <a:cubicBezTo>
                    <a:pt x="4762" y="1006792"/>
                    <a:pt x="3810" y="1002983"/>
                    <a:pt x="3810" y="1000125"/>
                  </a:cubicBezTo>
                  <a:close/>
                  <a:moveTo>
                    <a:pt x="952" y="952500"/>
                  </a:moveTo>
                  <a:lnTo>
                    <a:pt x="1904047" y="952500"/>
                  </a:lnTo>
                  <a:cubicBezTo>
                    <a:pt x="1904047" y="955358"/>
                    <a:pt x="1904047" y="959167"/>
                    <a:pt x="1904047" y="962025"/>
                  </a:cubicBezTo>
                  <a:lnTo>
                    <a:pt x="952" y="962025"/>
                  </a:lnTo>
                  <a:cubicBezTo>
                    <a:pt x="952" y="959167"/>
                    <a:pt x="952" y="955358"/>
                    <a:pt x="952" y="952500"/>
                  </a:cubicBezTo>
                  <a:close/>
                  <a:moveTo>
                    <a:pt x="0" y="904875"/>
                  </a:moveTo>
                  <a:lnTo>
                    <a:pt x="1905000" y="904875"/>
                  </a:lnTo>
                  <a:cubicBezTo>
                    <a:pt x="1905000" y="907733"/>
                    <a:pt x="1905000" y="911542"/>
                    <a:pt x="1905000" y="914400"/>
                  </a:cubicBezTo>
                  <a:lnTo>
                    <a:pt x="0" y="914400"/>
                  </a:lnTo>
                  <a:cubicBezTo>
                    <a:pt x="0" y="911542"/>
                    <a:pt x="0" y="907733"/>
                    <a:pt x="0" y="904875"/>
                  </a:cubicBezTo>
                  <a:close/>
                  <a:moveTo>
                    <a:pt x="1905" y="857250"/>
                  </a:moveTo>
                  <a:lnTo>
                    <a:pt x="1902142" y="857250"/>
                  </a:lnTo>
                  <a:cubicBezTo>
                    <a:pt x="1903095" y="860108"/>
                    <a:pt x="1903095" y="863917"/>
                    <a:pt x="1903095" y="866775"/>
                  </a:cubicBezTo>
                  <a:lnTo>
                    <a:pt x="952" y="866775"/>
                  </a:lnTo>
                  <a:cubicBezTo>
                    <a:pt x="1905" y="863917"/>
                    <a:pt x="1905" y="860108"/>
                    <a:pt x="1905" y="857250"/>
                  </a:cubicBezTo>
                  <a:close/>
                  <a:moveTo>
                    <a:pt x="6667" y="809625"/>
                  </a:moveTo>
                  <a:lnTo>
                    <a:pt x="1899285" y="809625"/>
                  </a:lnTo>
                  <a:cubicBezTo>
                    <a:pt x="1899285" y="812483"/>
                    <a:pt x="1900238" y="816292"/>
                    <a:pt x="1900238" y="819150"/>
                  </a:cubicBezTo>
                  <a:lnTo>
                    <a:pt x="5715" y="819150"/>
                  </a:lnTo>
                  <a:cubicBezTo>
                    <a:pt x="5715" y="816292"/>
                    <a:pt x="6667" y="812483"/>
                    <a:pt x="6667" y="809625"/>
                  </a:cubicBezTo>
                  <a:close/>
                  <a:moveTo>
                    <a:pt x="13335" y="762000"/>
                  </a:moveTo>
                  <a:lnTo>
                    <a:pt x="1891665" y="762000"/>
                  </a:lnTo>
                  <a:cubicBezTo>
                    <a:pt x="1892618" y="764858"/>
                    <a:pt x="1892618" y="768667"/>
                    <a:pt x="1893570" y="771525"/>
                  </a:cubicBezTo>
                  <a:lnTo>
                    <a:pt x="11430" y="771525"/>
                  </a:lnTo>
                  <a:cubicBezTo>
                    <a:pt x="12382" y="768667"/>
                    <a:pt x="12382" y="764858"/>
                    <a:pt x="13335" y="762000"/>
                  </a:cubicBezTo>
                  <a:close/>
                  <a:moveTo>
                    <a:pt x="21907" y="714375"/>
                  </a:moveTo>
                  <a:lnTo>
                    <a:pt x="1883092" y="714375"/>
                  </a:lnTo>
                  <a:cubicBezTo>
                    <a:pt x="1884045" y="717233"/>
                    <a:pt x="1884045" y="721042"/>
                    <a:pt x="1884997" y="723900"/>
                  </a:cubicBezTo>
                  <a:lnTo>
                    <a:pt x="20002" y="723900"/>
                  </a:lnTo>
                  <a:cubicBezTo>
                    <a:pt x="20955" y="721042"/>
                    <a:pt x="20955" y="717233"/>
                    <a:pt x="21907" y="714375"/>
                  </a:cubicBezTo>
                  <a:close/>
                  <a:moveTo>
                    <a:pt x="34289" y="666750"/>
                  </a:moveTo>
                  <a:lnTo>
                    <a:pt x="1870710" y="666750"/>
                  </a:lnTo>
                  <a:cubicBezTo>
                    <a:pt x="1871662" y="669608"/>
                    <a:pt x="1872615" y="673417"/>
                    <a:pt x="1873567" y="676275"/>
                  </a:cubicBezTo>
                  <a:lnTo>
                    <a:pt x="31432" y="676275"/>
                  </a:lnTo>
                  <a:cubicBezTo>
                    <a:pt x="32385" y="673417"/>
                    <a:pt x="33337" y="669608"/>
                    <a:pt x="34289" y="666750"/>
                  </a:cubicBezTo>
                  <a:close/>
                  <a:moveTo>
                    <a:pt x="48577" y="619125"/>
                  </a:moveTo>
                  <a:lnTo>
                    <a:pt x="1857375" y="619125"/>
                  </a:lnTo>
                  <a:cubicBezTo>
                    <a:pt x="1858328" y="621983"/>
                    <a:pt x="1859280" y="625792"/>
                    <a:pt x="1860233" y="628650"/>
                  </a:cubicBezTo>
                  <a:lnTo>
                    <a:pt x="45720" y="628650"/>
                  </a:lnTo>
                  <a:cubicBezTo>
                    <a:pt x="46672" y="625792"/>
                    <a:pt x="47625" y="621983"/>
                    <a:pt x="48577" y="619125"/>
                  </a:cubicBezTo>
                  <a:close/>
                  <a:moveTo>
                    <a:pt x="65722" y="571500"/>
                  </a:moveTo>
                  <a:lnTo>
                    <a:pt x="1839277" y="571500"/>
                  </a:lnTo>
                  <a:cubicBezTo>
                    <a:pt x="1840230" y="574357"/>
                    <a:pt x="1842135" y="578168"/>
                    <a:pt x="1843087" y="581025"/>
                  </a:cubicBezTo>
                  <a:lnTo>
                    <a:pt x="61912" y="581025"/>
                  </a:lnTo>
                  <a:cubicBezTo>
                    <a:pt x="62864" y="578168"/>
                    <a:pt x="64770" y="574357"/>
                    <a:pt x="65722" y="571500"/>
                  </a:cubicBezTo>
                  <a:close/>
                  <a:moveTo>
                    <a:pt x="85725" y="523875"/>
                  </a:moveTo>
                  <a:lnTo>
                    <a:pt x="1819275" y="523875"/>
                  </a:lnTo>
                  <a:cubicBezTo>
                    <a:pt x="1820227" y="526732"/>
                    <a:pt x="1822132" y="530543"/>
                    <a:pt x="1823085" y="533400"/>
                  </a:cubicBezTo>
                  <a:lnTo>
                    <a:pt x="80962" y="533400"/>
                  </a:lnTo>
                  <a:cubicBezTo>
                    <a:pt x="82867" y="530543"/>
                    <a:pt x="83820" y="526732"/>
                    <a:pt x="85725" y="523875"/>
                  </a:cubicBezTo>
                  <a:close/>
                  <a:moveTo>
                    <a:pt x="109538" y="476250"/>
                  </a:moveTo>
                  <a:lnTo>
                    <a:pt x="1796415" y="476250"/>
                  </a:lnTo>
                  <a:cubicBezTo>
                    <a:pt x="1798320" y="479107"/>
                    <a:pt x="1799273" y="482918"/>
                    <a:pt x="1801178" y="485775"/>
                  </a:cubicBezTo>
                  <a:lnTo>
                    <a:pt x="104775" y="485775"/>
                  </a:lnTo>
                  <a:cubicBezTo>
                    <a:pt x="105728" y="482918"/>
                    <a:pt x="107633" y="479107"/>
                    <a:pt x="109538" y="476250"/>
                  </a:cubicBezTo>
                  <a:close/>
                  <a:moveTo>
                    <a:pt x="136207" y="428625"/>
                  </a:moveTo>
                  <a:lnTo>
                    <a:pt x="1768792" y="428625"/>
                  </a:lnTo>
                  <a:cubicBezTo>
                    <a:pt x="1770697" y="431482"/>
                    <a:pt x="1772602" y="435293"/>
                    <a:pt x="1774507" y="438150"/>
                  </a:cubicBezTo>
                  <a:lnTo>
                    <a:pt x="130492" y="438150"/>
                  </a:lnTo>
                  <a:cubicBezTo>
                    <a:pt x="132397" y="435293"/>
                    <a:pt x="134302" y="431482"/>
                    <a:pt x="136207" y="428625"/>
                  </a:cubicBezTo>
                  <a:close/>
                  <a:moveTo>
                    <a:pt x="166687" y="381000"/>
                  </a:moveTo>
                  <a:lnTo>
                    <a:pt x="1738312" y="381000"/>
                  </a:lnTo>
                  <a:cubicBezTo>
                    <a:pt x="1741169" y="383857"/>
                    <a:pt x="1743074" y="387668"/>
                    <a:pt x="1744979" y="390525"/>
                  </a:cubicBezTo>
                  <a:lnTo>
                    <a:pt x="160019" y="390525"/>
                  </a:lnTo>
                  <a:cubicBezTo>
                    <a:pt x="162877" y="387668"/>
                    <a:pt x="164782" y="383857"/>
                    <a:pt x="166687" y="381000"/>
                  </a:cubicBezTo>
                  <a:close/>
                  <a:moveTo>
                    <a:pt x="201929" y="333375"/>
                  </a:moveTo>
                  <a:lnTo>
                    <a:pt x="1704022" y="333375"/>
                  </a:lnTo>
                  <a:cubicBezTo>
                    <a:pt x="1706879" y="336232"/>
                    <a:pt x="1708784" y="340043"/>
                    <a:pt x="1711642" y="342900"/>
                  </a:cubicBezTo>
                  <a:lnTo>
                    <a:pt x="194309" y="342900"/>
                  </a:lnTo>
                  <a:cubicBezTo>
                    <a:pt x="197167" y="340043"/>
                    <a:pt x="199072" y="336232"/>
                    <a:pt x="201929" y="333375"/>
                  </a:cubicBezTo>
                  <a:close/>
                  <a:moveTo>
                    <a:pt x="240981" y="285750"/>
                  </a:moveTo>
                  <a:lnTo>
                    <a:pt x="1664017" y="285750"/>
                  </a:lnTo>
                  <a:cubicBezTo>
                    <a:pt x="1666874" y="288607"/>
                    <a:pt x="1669732" y="292418"/>
                    <a:pt x="1672589" y="295275"/>
                  </a:cubicBezTo>
                  <a:lnTo>
                    <a:pt x="232409" y="295275"/>
                  </a:lnTo>
                  <a:cubicBezTo>
                    <a:pt x="235267" y="292418"/>
                    <a:pt x="238124" y="288607"/>
                    <a:pt x="240981" y="285750"/>
                  </a:cubicBezTo>
                  <a:close/>
                  <a:moveTo>
                    <a:pt x="286702" y="238125"/>
                  </a:moveTo>
                  <a:lnTo>
                    <a:pt x="1619250" y="238125"/>
                  </a:lnTo>
                  <a:cubicBezTo>
                    <a:pt x="1622107" y="240982"/>
                    <a:pt x="1625917" y="244793"/>
                    <a:pt x="1628775" y="247650"/>
                  </a:cubicBezTo>
                  <a:lnTo>
                    <a:pt x="277177" y="247650"/>
                  </a:lnTo>
                  <a:cubicBezTo>
                    <a:pt x="280034" y="244793"/>
                    <a:pt x="282892" y="240982"/>
                    <a:pt x="286702" y="238125"/>
                  </a:cubicBezTo>
                  <a:close/>
                  <a:moveTo>
                    <a:pt x="339090" y="190500"/>
                  </a:moveTo>
                  <a:lnTo>
                    <a:pt x="1565910" y="190500"/>
                  </a:lnTo>
                  <a:cubicBezTo>
                    <a:pt x="1569720" y="193357"/>
                    <a:pt x="1573530" y="197168"/>
                    <a:pt x="1577340" y="200025"/>
                  </a:cubicBezTo>
                  <a:lnTo>
                    <a:pt x="327660" y="200025"/>
                  </a:lnTo>
                  <a:cubicBezTo>
                    <a:pt x="331470" y="197168"/>
                    <a:pt x="335280" y="193357"/>
                    <a:pt x="339090" y="190500"/>
                  </a:cubicBezTo>
                  <a:close/>
                  <a:moveTo>
                    <a:pt x="400049" y="142875"/>
                  </a:moveTo>
                  <a:lnTo>
                    <a:pt x="1503997" y="142875"/>
                  </a:lnTo>
                  <a:cubicBezTo>
                    <a:pt x="1508759" y="145733"/>
                    <a:pt x="1512569" y="149542"/>
                    <a:pt x="1517332" y="152400"/>
                  </a:cubicBezTo>
                  <a:lnTo>
                    <a:pt x="386714" y="152400"/>
                  </a:lnTo>
                  <a:cubicBezTo>
                    <a:pt x="391477" y="149542"/>
                    <a:pt x="395287" y="145733"/>
                    <a:pt x="400049" y="142875"/>
                  </a:cubicBezTo>
                  <a:close/>
                  <a:moveTo>
                    <a:pt x="474345" y="95250"/>
                  </a:moveTo>
                  <a:lnTo>
                    <a:pt x="1429702" y="95250"/>
                  </a:lnTo>
                  <a:cubicBezTo>
                    <a:pt x="1435417" y="98108"/>
                    <a:pt x="1440180" y="101917"/>
                    <a:pt x="1445895" y="104775"/>
                  </a:cubicBezTo>
                  <a:lnTo>
                    <a:pt x="458152" y="104775"/>
                  </a:lnTo>
                  <a:cubicBezTo>
                    <a:pt x="463867" y="101917"/>
                    <a:pt x="468630" y="98108"/>
                    <a:pt x="474345" y="95250"/>
                  </a:cubicBezTo>
                  <a:close/>
                  <a:moveTo>
                    <a:pt x="568642" y="47625"/>
                  </a:moveTo>
                  <a:lnTo>
                    <a:pt x="1337309" y="47625"/>
                  </a:lnTo>
                  <a:cubicBezTo>
                    <a:pt x="1343977" y="50483"/>
                    <a:pt x="1351597" y="54292"/>
                    <a:pt x="1358265" y="57150"/>
                  </a:cubicBezTo>
                  <a:lnTo>
                    <a:pt x="547687" y="57150"/>
                  </a:lnTo>
                  <a:cubicBezTo>
                    <a:pt x="554355" y="54292"/>
                    <a:pt x="561975" y="50483"/>
                    <a:pt x="568642" y="47625"/>
                  </a:cubicBezTo>
                  <a:close/>
                  <a:moveTo>
                    <a:pt x="702945" y="0"/>
                  </a:moveTo>
                  <a:lnTo>
                    <a:pt x="1203960" y="0"/>
                  </a:lnTo>
                  <a:cubicBezTo>
                    <a:pt x="1214438" y="2858"/>
                    <a:pt x="1225867" y="5715"/>
                    <a:pt x="1236345" y="9525"/>
                  </a:cubicBezTo>
                  <a:lnTo>
                    <a:pt x="670560" y="9525"/>
                  </a:lnTo>
                  <a:cubicBezTo>
                    <a:pt x="681037" y="5715"/>
                    <a:pt x="692467" y="2858"/>
                    <a:pt x="702945" y="0"/>
                  </a:cubicBezTo>
                  <a:close/>
                </a:path>
              </a:pathLst>
            </a:custGeom>
            <a:grpFill/>
            <a:ln w="14015" cap="flat">
              <a:noFill/>
              <a:prstDash val="solid"/>
              <a:miter/>
            </a:ln>
          </p:spPr>
          <p:txBody>
            <a:bodyPr rtlCol="0" anchor="ctr"/>
            <a:lstStyle/>
            <a:p>
              <a:pPr lvl="0"/>
              <a:endParaRPr lang="zh-CN" altLang="en-US"/>
            </a:p>
          </p:txBody>
        </p:sp>
        <p:sp>
          <p:nvSpPr>
            <p:cNvPr id="49" name="任意多边形: 形状 48">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5BB64C10-DD97-4DF8-B000-003D623AC820}"/>
                </a:ext>
              </a:extLst>
            </p:cNvPr>
            <p:cNvSpPr/>
            <p:nvPr/>
          </p:nvSpPr>
          <p:spPr>
            <a:xfrm>
              <a:off x="9421670" y="0"/>
              <a:ext cx="2770331" cy="1398732"/>
            </a:xfrm>
            <a:custGeom>
              <a:avLst/>
              <a:gdLst>
                <a:gd name="connsiteX0" fmla="*/ 685 w 2770331"/>
                <a:gd name="connsiteY0" fmla="*/ 0 h 1398732"/>
                <a:gd name="connsiteX1" fmla="*/ 2769647 w 2770331"/>
                <a:gd name="connsiteY1" fmla="*/ 0 h 1398732"/>
                <a:gd name="connsiteX2" fmla="*/ 2770331 w 2770331"/>
                <a:gd name="connsiteY2" fmla="*/ 13546 h 1398732"/>
                <a:gd name="connsiteX3" fmla="*/ 2770331 w 2770331"/>
                <a:gd name="connsiteY3" fmla="*/ 13586 h 1398732"/>
                <a:gd name="connsiteX4" fmla="*/ 2763181 w 2770331"/>
                <a:gd name="connsiteY4" fmla="*/ 155191 h 1398732"/>
                <a:gd name="connsiteX5" fmla="*/ 1385167 w 2770331"/>
                <a:gd name="connsiteY5" fmla="*/ 1398732 h 1398732"/>
                <a:gd name="connsiteX6" fmla="*/ 0 w 2770331"/>
                <a:gd name="connsiteY6" fmla="*/ 13566 h 1398732"/>
                <a:gd name="connsiteX7" fmla="*/ 685 w 2770331"/>
                <a:gd name="connsiteY7" fmla="*/ 0 h 139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0331" h="1398732">
                  <a:moveTo>
                    <a:pt x="685" y="0"/>
                  </a:moveTo>
                  <a:lnTo>
                    <a:pt x="2769647" y="0"/>
                  </a:lnTo>
                  <a:lnTo>
                    <a:pt x="2770331" y="13546"/>
                  </a:lnTo>
                  <a:lnTo>
                    <a:pt x="2770331" y="13586"/>
                  </a:lnTo>
                  <a:lnTo>
                    <a:pt x="2763181" y="155191"/>
                  </a:lnTo>
                  <a:cubicBezTo>
                    <a:pt x="2692246" y="853670"/>
                    <a:pt x="2102359" y="1398732"/>
                    <a:pt x="1385167" y="1398732"/>
                  </a:cubicBezTo>
                  <a:cubicBezTo>
                    <a:pt x="620160" y="1398732"/>
                    <a:pt x="0" y="778572"/>
                    <a:pt x="0" y="13566"/>
                  </a:cubicBezTo>
                  <a:lnTo>
                    <a:pt x="685" y="0"/>
                  </a:lnTo>
                  <a:close/>
                </a:path>
              </a:pathLst>
            </a:custGeom>
            <a:grpFill/>
            <a:ln w="11088" cap="flat">
              <a:noFill/>
              <a:prstDash val="solid"/>
              <a:miter/>
            </a:ln>
          </p:spPr>
          <p:txBody>
            <a:bodyPr rtlCol="0" anchor="ctr"/>
            <a:lstStyle/>
            <a:p>
              <a:pPr lvl="0"/>
              <a:endParaRPr lang="zh-CN" altLang="en-US"/>
            </a:p>
          </p:txBody>
        </p:sp>
        <p:sp>
          <p:nvSpPr>
            <p:cNvPr id="50" name="任意多边形: 形状 49">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9968D30F-EFE9-42F5-898F-60E1C5FABD5E}"/>
                </a:ext>
              </a:extLst>
            </p:cNvPr>
            <p:cNvSpPr/>
            <p:nvPr/>
          </p:nvSpPr>
          <p:spPr>
            <a:xfrm>
              <a:off x="5252643" y="3384444"/>
              <a:ext cx="4217150" cy="3473556"/>
            </a:xfrm>
            <a:custGeom>
              <a:avLst/>
              <a:gdLst>
                <a:gd name="connsiteX0" fmla="*/ 2852892 w 4217150"/>
                <a:gd name="connsiteY0" fmla="*/ 466 h 3473556"/>
                <a:gd name="connsiteX1" fmla="*/ 3516107 w 4217150"/>
                <a:gd name="connsiteY1" fmla="*/ 187901 h 3473556"/>
                <a:gd name="connsiteX2" fmla="*/ 4029249 w 4217150"/>
                <a:gd name="connsiteY2" fmla="*/ 2103072 h 3473556"/>
                <a:gd name="connsiteX3" fmla="*/ 3237888 w 4217150"/>
                <a:gd name="connsiteY3" fmla="*/ 3473556 h 3473556"/>
                <a:gd name="connsiteX4" fmla="*/ 0 w 4217150"/>
                <a:gd name="connsiteY4" fmla="*/ 3473556 h 3473556"/>
                <a:gd name="connsiteX5" fmla="*/ 1600936 w 4217150"/>
                <a:gd name="connsiteY5" fmla="*/ 701044 h 3473556"/>
                <a:gd name="connsiteX6" fmla="*/ 2852892 w 4217150"/>
                <a:gd name="connsiteY6" fmla="*/ 466 h 347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7150" h="3473556">
                  <a:moveTo>
                    <a:pt x="2852892" y="466"/>
                  </a:moveTo>
                  <a:cubicBezTo>
                    <a:pt x="3078904" y="6295"/>
                    <a:pt x="3306679" y="66976"/>
                    <a:pt x="3516107" y="187901"/>
                  </a:cubicBezTo>
                  <a:cubicBezTo>
                    <a:pt x="4186277" y="574861"/>
                    <a:pt x="4416209" y="1432902"/>
                    <a:pt x="4029249" y="2103072"/>
                  </a:cubicBezTo>
                  <a:lnTo>
                    <a:pt x="3237888" y="3473556"/>
                  </a:lnTo>
                  <a:lnTo>
                    <a:pt x="0" y="3473556"/>
                  </a:lnTo>
                  <a:lnTo>
                    <a:pt x="1600936" y="701044"/>
                  </a:lnTo>
                  <a:cubicBezTo>
                    <a:pt x="1866971" y="240302"/>
                    <a:pt x="2355666" y="-12359"/>
                    <a:pt x="2852892" y="466"/>
                  </a:cubicBezTo>
                  <a:close/>
                </a:path>
              </a:pathLst>
            </a:custGeom>
            <a:grpFill/>
            <a:ln w="14015" cap="flat">
              <a:noFill/>
              <a:prstDash val="solid"/>
              <a:miter/>
            </a:ln>
          </p:spPr>
          <p:txBody>
            <a:bodyPr rtlCol="0" anchor="ctr"/>
            <a:lstStyle/>
            <a:p>
              <a:pPr lvl="0"/>
              <a:endParaRPr lang="zh-CN" altLang="en-US"/>
            </a:p>
          </p:txBody>
        </p:sp>
      </p:grpSp>
      <p:grpSp>
        <p:nvGrpSpPr>
          <p:cNvPr id="6" name="组合 5">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FCBBF52A-9743-4508-AB77-11B57E837547}"/>
              </a:ext>
            </a:extLst>
          </p:cNvPr>
          <p:cNvGrpSpPr/>
          <p:nvPr/>
        </p:nvGrpSpPr>
        <p:grpSpPr>
          <a:xfrm>
            <a:off x="660400" y="2340017"/>
            <a:ext cx="2890521" cy="1867344"/>
            <a:chOff x="3422179" y="1150240"/>
            <a:chExt cx="2890521" cy="1867345"/>
          </a:xfrm>
        </p:grpSpPr>
        <p:sp>
          <p:nvSpPr>
            <p:cNvPr id="7" name="矩形 189">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63B72852-A360-4EF8-A2F9-3A064EA5CCA7}"/>
                </a:ext>
              </a:extLst>
            </p:cNvPr>
            <p:cNvSpPr/>
            <p:nvPr/>
          </p:nvSpPr>
          <p:spPr>
            <a:xfrm>
              <a:off x="3422179" y="2648253"/>
              <a:ext cx="2890520" cy="369332"/>
            </a:xfrm>
            <a:prstGeom prst="rect">
              <a:avLst/>
            </a:prstGeom>
            <a:noFill/>
            <a:ln>
              <a:noFill/>
            </a:ln>
          </p:spPr>
          <p:txBody>
            <a:bodyPr wrap="square" anchor="ctr">
              <a:spAutoFit/>
            </a:bodyPr>
            <a:lstStyle/>
            <a:p>
              <a:pPr defTabSz="914332">
                <a:lnSpc>
                  <a:spcPct val="150000"/>
                </a:lnSpc>
                <a:defRPr/>
              </a:pPr>
              <a:r>
                <a:rPr lang="en-US" altLang="zh-CN" sz="1200" smtClean="0">
                  <a:solidFill>
                    <a:srgbClr val="F73434"/>
                  </a:solidFill>
                  <a:latin typeface="Arial" panose="020B0604020202020204" pitchFamily="34" charset="0"/>
                  <a:ea typeface="微软雅黑" panose="020B0503020204020204" pitchFamily="34" charset="-122"/>
                  <a:sym typeface="Arial" panose="020B0604020202020204" pitchFamily="34" charset="0"/>
                  <a:hlinkClick r:id="rId3">
                    <a:extLst>
                      <a:ext uri="{A12FA001-AC4F-418D-AE19-62706E023703}">
                        <ahyp:hlinkClr xmlns:ahyp="http://schemas.microsoft.com/office/drawing/2018/hyperlinkcolor" xmlns:p14="http://schemas.microsoft.com/office/powerpoint/2010/main" xmlns:a14="http://schemas.microsoft.com/office/drawing/2010/main" xmlns:a16="http://schemas.microsoft.com/office/drawing/2014/main" xmlns="" val="tx"/>
                      </a:ext>
                    </a:extLst>
                  </a:hlinkClick>
                </a:rPr>
                <a:t>w</a:t>
              </a:r>
              <a:r>
                <a:rPr lang="en-US" altLang="zh-CN" sz="100" smtClean="0">
                  <a:solidFill>
                    <a:srgbClr val="F73434"/>
                  </a:solidFill>
                  <a:latin typeface="Arial" panose="020B0604020202020204" pitchFamily="34" charset="0"/>
                  <a:ea typeface="微软雅黑" panose="020B0503020204020204" pitchFamily="34" charset="-122"/>
                  <a:sym typeface="Arial" panose="020B0604020202020204" pitchFamily="34" charset="0"/>
                  <a:hlinkClick r:id="rId3">
                    <a:extLst>
                      <a:ext uri="{A12FA001-AC4F-418D-AE19-62706E023703}">
                        <ahyp:hlinkClr xmlns:ahyp="http://schemas.microsoft.com/office/drawing/2018/hyperlinkcolor" xmlns:p14="http://schemas.microsoft.com/office/powerpoint/2010/main" xmlns:a14="http://schemas.microsoft.com/office/drawing/2010/main" xmlns:a16="http://schemas.microsoft.com/office/drawing/2014/main" xmlns="" val="tx"/>
                      </a:ext>
                    </a:extLst>
                  </a:hlinkClick>
                </a:rPr>
                <a:t> </a:t>
              </a:r>
              <a:r>
                <a:rPr lang="en-US" altLang="zh-CN" sz="1200" smtClean="0">
                  <a:solidFill>
                    <a:srgbClr val="F73434"/>
                  </a:solidFill>
                  <a:latin typeface="Arial" panose="020B0604020202020204" pitchFamily="34" charset="0"/>
                  <a:ea typeface="微软雅黑" panose="020B0503020204020204" pitchFamily="34" charset="-122"/>
                  <a:sym typeface="Arial" panose="020B0604020202020204" pitchFamily="34" charset="0"/>
                  <a:hlinkClick r:id="rId3">
                    <a:extLst>
                      <a:ext uri="{A12FA001-AC4F-418D-AE19-62706E023703}">
                        <ahyp:hlinkClr xmlns:ahyp="http://schemas.microsoft.com/office/drawing/2018/hyperlinkcolor" xmlns:p14="http://schemas.microsoft.com/office/powerpoint/2010/main" xmlns:a14="http://schemas.microsoft.com/office/drawing/2010/main" xmlns:a16="http://schemas.microsoft.com/office/drawing/2014/main" xmlns="" val="tx"/>
                      </a:ext>
                    </a:extLst>
                  </a:hlinkClick>
                </a:rPr>
                <a:t>ww.islide.cc</a:t>
              </a:r>
              <a:endParaRPr lang="zh-CN" altLang="en-US" sz="1200" dirty="0">
                <a:solidFill>
                  <a:srgbClr val="F73434"/>
                </a:solidFill>
                <a:latin typeface="Arial" panose="020B0604020202020204" pitchFamily="34" charset="0"/>
                <a:ea typeface="微软雅黑" panose="020B0503020204020204" pitchFamily="34" charset="-122"/>
                <a:sym typeface="Arial" panose="020B0604020202020204" pitchFamily="34" charset="0"/>
              </a:endParaRPr>
            </a:p>
          </p:txBody>
        </p:sp>
        <p:sp>
          <p:nvSpPr>
            <p:cNvPr id="8" name="矩形 190">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F754BA71-8184-4828-95E4-4301AEC6A769}"/>
                </a:ext>
              </a:extLst>
            </p:cNvPr>
            <p:cNvSpPr/>
            <p:nvPr/>
          </p:nvSpPr>
          <p:spPr>
            <a:xfrm>
              <a:off x="3422180" y="1150240"/>
              <a:ext cx="2890520" cy="1224952"/>
            </a:xfrm>
            <a:prstGeom prst="rect">
              <a:avLst/>
            </a:prstGeom>
            <a:noFill/>
            <a:ln>
              <a:noFill/>
            </a:ln>
          </p:spPr>
          <p:txBody>
            <a:bodyPr wrap="square" anchor="t">
              <a:spAutoFit/>
            </a:bodyPr>
            <a:lstStyle/>
            <a:p>
              <a:pPr defTabSz="914332">
                <a:lnSpc>
                  <a:spcPct val="120000"/>
                </a:lnSpc>
                <a:defRPr/>
              </a:pP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海量原创模</a:t>
              </a:r>
              <a:r>
                <a:rPr lang="zh-CN" altLang="en-US" sz="1400">
                  <a:solidFill>
                    <a:srgbClr val="2F2F2F"/>
                  </a:solidFill>
                  <a:latin typeface="Arial" panose="020B0604020202020204" pitchFamily="34" charset="0"/>
                  <a:ea typeface="微软雅黑" panose="020B0503020204020204" pitchFamily="34" charset="-122"/>
                  <a:sym typeface="Arial" panose="020B0604020202020204" pitchFamily="34" charset="0"/>
                </a:rPr>
                <a:t>版 </a:t>
              </a:r>
              <a:r>
                <a:rPr lang="zh-CN" altLang="en-US" sz="100" smtClean="0">
                  <a:solidFill>
                    <a:srgbClr val="2F2F2F"/>
                  </a:solidFill>
                  <a:latin typeface="Arial" panose="020B0604020202020204" pitchFamily="34" charset="0"/>
                  <a:ea typeface="微软雅黑" panose="020B0503020204020204" pitchFamily="34" charset="-122"/>
                  <a:sym typeface="Arial" panose="020B0604020202020204" pitchFamily="34" charset="0"/>
                </a:rPr>
                <a:t> </a:t>
              </a:r>
              <a:r>
                <a:rPr lang="en-US" altLang="zh-CN" sz="1400" smtClean="0">
                  <a:solidFill>
                    <a:srgbClr val="2F2F2F"/>
                  </a:solidFill>
                  <a:latin typeface="Arial" panose="020B0604020202020204" pitchFamily="34" charset="0"/>
                  <a:ea typeface="微软雅黑" panose="020B0503020204020204" pitchFamily="34" charset="-122"/>
                  <a:sym typeface="Arial" panose="020B0604020202020204" pitchFamily="34" charset="0"/>
                </a:rPr>
                <a:t>+ </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一键优化功能</a:t>
              </a:r>
              <a:endPar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defTabSz="914332">
                <a:lnSpc>
                  <a:spcPct val="120000"/>
                </a:lnSpc>
                <a:defRPr/>
              </a:pPr>
              <a:r>
                <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让 </a:t>
              </a:r>
              <a:r>
                <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设计简单起来！</a:t>
              </a:r>
              <a:endPar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defTabSz="914332">
                <a:defRPr/>
              </a:pPr>
              <a:endParaRPr lang="en-US" altLang="zh-CN" sz="1000" dirty="0">
                <a:solidFill>
                  <a:srgbClr val="000000"/>
                </a:solidFill>
                <a:latin typeface="Arial" panose="020B0604020202020204" pitchFamily="34" charset="0"/>
                <a:ea typeface="微软雅黑" panose="020B0503020204020204" pitchFamily="34" charset="-122"/>
                <a:sym typeface="Arial" panose="020B0604020202020204" pitchFamily="34" charset="0"/>
              </a:endParaRP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One-click Optimization Features &amp; </a:t>
              </a: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Massive Presentation Resources</a:t>
              </a: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Great Presentation Made Easy with iSlide</a:t>
              </a:r>
              <a:endParaRPr lang="zh-CN" altLang="en-US"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5" name="组合 34">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40A731D2-FA13-40C5-BFF0-59E41A667BE9}"/>
              </a:ext>
            </a:extLst>
          </p:cNvPr>
          <p:cNvGrpSpPr/>
          <p:nvPr/>
        </p:nvGrpSpPr>
        <p:grpSpPr>
          <a:xfrm>
            <a:off x="3937427" y="2352595"/>
            <a:ext cx="7581473" cy="3646763"/>
            <a:chOff x="3898800" y="2179738"/>
            <a:chExt cx="7619676" cy="3466182"/>
          </a:xfrm>
        </p:grpSpPr>
        <p:sp>
          <p:nvSpPr>
            <p:cNvPr id="20" name="矩形 19">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5647BAD5-E81A-4998-ACB8-5A097424CA8E}"/>
                </a:ext>
              </a:extLst>
            </p:cNvPr>
            <p:cNvSpPr/>
            <p:nvPr/>
          </p:nvSpPr>
          <p:spPr>
            <a:xfrm>
              <a:off x="3898800" y="2495332"/>
              <a:ext cx="7619676" cy="3150588"/>
            </a:xfrm>
            <a:prstGeom prst="rect">
              <a:avLst/>
            </a:prstGeom>
            <a:ln w="3175">
              <a:noFill/>
            </a:ln>
          </p:spPr>
          <p:txBody>
            <a:bodyPr wrap="square">
              <a:noAutofit/>
            </a:bodyPr>
            <a:lstStyle/>
            <a:p>
              <a:pPr>
                <a:lnSpc>
                  <a:spcPct val="150000"/>
                </a:lnSpc>
              </a:pP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本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文件由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提供</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尊重知识产权并注重保护用户享有的各项权利。</a:t>
              </a:r>
              <a:endPar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郑重提醒您：</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本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文件中提供的任何信息内容的所有权、知识产权归其原始权利人或权利受让人所有，您免费</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付费获得的是信息内容的使用权，您的使用行为应当遵循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官方网站（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https://www.islide.cc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的“版权声明”、“用户协议”、“会员协议”等条款的约束。</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1</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您不可将信息内容的全部或部分用于出售，或以出租、出借、发布等其他任何直接获利方式供他人使用；</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2</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您不可在接入互联网或移动互联网的任何网站、平台、应用或程序上以任何方式为他人提供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工具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平台中的资源内容下载。</a:t>
              </a:r>
              <a:endPar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endParaRPr lang="en-US" altLang="zh-CN" sz="900" dirty="0">
                <a:solidFill>
                  <a:schemeClr val="accent3"/>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This presentation file is supplied by iSlide.</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iSlide respects all intellectual property rights and protects all the rights its users acquired. </a:t>
              </a:r>
              <a:r>
                <a:rPr lang="en-US" altLang="zh-CN" sz="900">
                  <a:solidFill>
                    <a:srgbClr val="A6A6A6"/>
                  </a:solidFill>
                  <a:latin typeface="Arial" panose="020B0604020202020204" pitchFamily="34" charset="0"/>
                  <a:ea typeface="微软雅黑" panose="020B0503020204020204" pitchFamily="34" charset="-122"/>
                  <a:sym typeface="Arial" panose="020B0604020202020204" pitchFamily="34" charset="0"/>
                </a:rPr>
                <a:t>Here </a:t>
              </a:r>
              <a:r>
                <a:rPr lang="en-US" altLang="zh-CN" sz="900" smtClean="0">
                  <a:solidFill>
                    <a:srgbClr val="A6A6A6"/>
                  </a:solidFill>
                  <a:latin typeface="Arial" panose="020B0604020202020204" pitchFamily="34" charset="0"/>
                  <a:ea typeface="微软雅黑" panose="020B0503020204020204" pitchFamily="34" charset="-122"/>
                  <a:sym typeface="Arial" panose="020B0604020202020204" pitchFamily="34" charset="0"/>
                </a:rPr>
                <a:t>iSli</a:t>
              </a:r>
              <a:r>
                <a:rPr lang="en-US" altLang="zh-CN" sz="100" smtClean="0">
                  <a:solidFill>
                    <a:srgbClr val="A6A6A6"/>
                  </a:solidFill>
                  <a:latin typeface="Arial" panose="020B0604020202020204" pitchFamily="34" charset="0"/>
                  <a:ea typeface="微软雅黑" panose="020B0503020204020204" pitchFamily="34" charset="-122"/>
                  <a:sym typeface="Arial" panose="020B0604020202020204" pitchFamily="34" charset="0"/>
                </a:rPr>
                <a:t> </a:t>
              </a:r>
              <a:r>
                <a:rPr lang="en-US" altLang="zh-CN" sz="900" smtClean="0">
                  <a:solidFill>
                    <a:srgbClr val="A6A6A6"/>
                  </a:solidFill>
                  <a:latin typeface="Arial" panose="020B0604020202020204" pitchFamily="34" charset="0"/>
                  <a:ea typeface="微软雅黑" panose="020B0503020204020204" pitchFamily="34" charset="-122"/>
                  <a:sym typeface="Arial" panose="020B0604020202020204" pitchFamily="34" charset="0"/>
                </a:rPr>
                <a:t>de </a:t>
              </a: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solemnly reminds you:</a:t>
              </a:r>
            </a:p>
            <a:p>
              <a:pPr>
                <a:lnSpc>
                  <a:spcPct val="150000"/>
                </a:lnSpc>
              </a:pPr>
              <a:endPar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The ownership and intellectual property of any content in this PowerPoint presentation belongs to its owner or the assignee of this ownership. What you purchased or got for free is the right to use the content. The usage should be subject to the terms of “Copyright Notice”, “User License Agreement”, “Premium Agreement” and more Agreements of iSlide official website (https://www.islide.cc ) :</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1.You may not use all or part of the content for sale; or rent, lend; or distribute it in any directly profitable way.</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2.You may not provide the resource of iSlide add-in/platform to any website, platform, application in the Internet or mobile Internet in any way.</a:t>
              </a:r>
            </a:p>
          </p:txBody>
        </p:sp>
        <p:sp>
          <p:nvSpPr>
            <p:cNvPr id="34" name="矩形 33">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AE7ED207-8B71-4A21-A9A5-7C044C1FB5F6}"/>
                </a:ext>
              </a:extLst>
            </p:cNvPr>
            <p:cNvSpPr/>
            <p:nvPr/>
          </p:nvSpPr>
          <p:spPr>
            <a:xfrm>
              <a:off x="3898800" y="2179738"/>
              <a:ext cx="2672525" cy="292536"/>
            </a:xfrm>
            <a:prstGeom prst="rect">
              <a:avLst/>
            </a:prstGeom>
          </p:spPr>
          <p:txBody>
            <a:bodyPr wrap="none">
              <a:spAutoFit/>
            </a:bodyPr>
            <a:lstStyle/>
            <a:p>
              <a:r>
                <a:rPr lang="zh-CN" altLang="en-US" sz="1400" b="1" dirty="0">
                  <a:solidFill>
                    <a:srgbClr val="F73434"/>
                  </a:solidFill>
                  <a:latin typeface="Arial" panose="020B0604020202020204" pitchFamily="34" charset="0"/>
                  <a:ea typeface="微软雅黑" panose="020B0503020204020204" pitchFamily="34" charset="-122"/>
                  <a:sym typeface="Arial" panose="020B0604020202020204" pitchFamily="34" charset="0"/>
                </a:rPr>
                <a:t>重要</a:t>
              </a:r>
              <a:r>
                <a:rPr lang="zh-CN" altLang="en-US" sz="1400" b="1">
                  <a:solidFill>
                    <a:srgbClr val="F73434"/>
                  </a:solidFill>
                  <a:latin typeface="Arial" panose="020B0604020202020204" pitchFamily="34" charset="0"/>
                  <a:ea typeface="微软雅黑" panose="020B0503020204020204" pitchFamily="34" charset="-122"/>
                  <a:sym typeface="Arial" panose="020B0604020202020204" pitchFamily="34" charset="0"/>
                </a:rPr>
                <a:t>提示 </a:t>
              </a:r>
              <a:r>
                <a:rPr lang="en-US" altLang="zh-CN" sz="1400" b="1" smtClean="0">
                  <a:solidFill>
                    <a:srgbClr val="F73434"/>
                  </a:solidFill>
                  <a:latin typeface="Arial" panose="020B0604020202020204" pitchFamily="34" charset="0"/>
                  <a:ea typeface="微软雅黑" panose="020B0503020204020204" pitchFamily="34" charset="-122"/>
                  <a:sym typeface="Arial" panose="020B0604020202020204" pitchFamily="34" charset="0"/>
                </a:rPr>
                <a:t>IMP</a:t>
              </a:r>
              <a:r>
                <a:rPr lang="en-US" altLang="zh-CN" sz="100" b="1" smtClean="0">
                  <a:solidFill>
                    <a:srgbClr val="F73434"/>
                  </a:solidFill>
                  <a:latin typeface="Arial" panose="020B0604020202020204" pitchFamily="34" charset="0"/>
                  <a:ea typeface="微软雅黑" panose="020B0503020204020204" pitchFamily="34" charset="-122"/>
                  <a:sym typeface="Arial" panose="020B0604020202020204" pitchFamily="34" charset="0"/>
                </a:rPr>
                <a:t> </a:t>
              </a:r>
              <a:r>
                <a:rPr lang="en-US" altLang="zh-CN" sz="1400" b="1" smtClean="0">
                  <a:solidFill>
                    <a:srgbClr val="F73434"/>
                  </a:solidFill>
                  <a:latin typeface="Arial" panose="020B0604020202020204" pitchFamily="34" charset="0"/>
                  <a:ea typeface="微软雅黑" panose="020B0503020204020204" pitchFamily="34" charset="-122"/>
                  <a:sym typeface="Arial" panose="020B0604020202020204" pitchFamily="34" charset="0"/>
                </a:rPr>
                <a:t>ORTANT </a:t>
              </a:r>
              <a:r>
                <a:rPr lang="en-US" altLang="zh-CN" sz="1400" b="1" dirty="0">
                  <a:solidFill>
                    <a:srgbClr val="F73434"/>
                  </a:solidFill>
                  <a:latin typeface="Arial" panose="020B0604020202020204" pitchFamily="34" charset="0"/>
                  <a:ea typeface="微软雅黑" panose="020B0503020204020204" pitchFamily="34" charset="-122"/>
                  <a:sym typeface="Arial" panose="020B0604020202020204" pitchFamily="34" charset="0"/>
                </a:rPr>
                <a:t>NOTE:</a:t>
              </a:r>
              <a:endParaRPr lang="zh-CN" altLang="en-US" sz="1400" b="1" dirty="0">
                <a:solidFill>
                  <a:srgbClr val="F73434"/>
                </a:solidFill>
                <a:latin typeface="Arial" panose="020B0604020202020204" pitchFamily="34" charset="0"/>
                <a:ea typeface="微软雅黑" panose="020B0503020204020204" pitchFamily="34" charset="-122"/>
                <a:sym typeface="Arial" panose="020B0604020202020204" pitchFamily="34" charset="0"/>
              </a:endParaRPr>
            </a:p>
          </p:txBody>
        </p:sp>
      </p:grpSp>
      <p:pic>
        <p:nvPicPr>
          <p:cNvPr id="130" name="图片 129">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2AA564AF-9FC3-4787-B325-F00530C1658C}"/>
              </a:ext>
            </a:extLst>
          </p:cNvPr>
          <p:cNvPicPr>
            <a:picLocks/>
          </p:cNvPicPr>
          <p:nvPr/>
        </p:nvPicPr>
        <p:blipFill>
          <a:blip r:embed="rId4">
            <a:extLst>
              <a:ext uri="{28A0092B-C50C-407E-A947-70E740481C1C}">
                <a14:useLocalDpi xmlns:a14="http://schemas.microsoft.com/office/drawing/2010/main" val="0"/>
              </a:ext>
            </a:extLst>
          </a:blip>
          <a:srcRect/>
          <a:stretch/>
        </p:blipFill>
        <p:spPr>
          <a:xfrm>
            <a:off x="660400" y="5031395"/>
            <a:ext cx="1048192" cy="1048192"/>
          </a:xfrm>
          <a:prstGeom prst="rect">
            <a:avLst/>
          </a:prstGeom>
        </p:spPr>
      </p:pic>
      <p:grpSp>
        <p:nvGrpSpPr>
          <p:cNvPr id="14" name="组合 13">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D6757B43-6712-4BAE-8670-B715B10BFA4C}"/>
              </a:ext>
            </a:extLst>
          </p:cNvPr>
          <p:cNvGrpSpPr/>
          <p:nvPr/>
        </p:nvGrpSpPr>
        <p:grpSpPr>
          <a:xfrm>
            <a:off x="660400" y="1193800"/>
            <a:ext cx="1595567" cy="451484"/>
            <a:chOff x="683269" y="1142808"/>
            <a:chExt cx="1595567" cy="451484"/>
          </a:xfrm>
        </p:grpSpPr>
        <p:grpSp>
          <p:nvGrpSpPr>
            <p:cNvPr id="15" name="图形 2">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A540713F-FC29-4BB1-A3F5-C1360CCAFA2B}"/>
                </a:ext>
              </a:extLst>
            </p:cNvPr>
            <p:cNvGrpSpPr/>
            <p:nvPr/>
          </p:nvGrpSpPr>
          <p:grpSpPr>
            <a:xfrm>
              <a:off x="683269" y="1142808"/>
              <a:ext cx="450234" cy="451484"/>
              <a:chOff x="683269" y="1142808"/>
              <a:chExt cx="450234" cy="451484"/>
            </a:xfrm>
          </p:grpSpPr>
          <p:sp>
            <p:nvSpPr>
              <p:cNvPr id="17" name="任意多边形: 形状 16">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B52E13E3-2F81-47A6-9CF9-D29EFF6EC715}"/>
                  </a:ext>
                </a:extLst>
              </p:cNvPr>
              <p:cNvSpPr/>
              <p:nvPr/>
            </p:nvSpPr>
            <p:spPr>
              <a:xfrm>
                <a:off x="683269" y="1142808"/>
                <a:ext cx="450234" cy="451484"/>
              </a:xfrm>
              <a:custGeom>
                <a:avLst/>
                <a:gdLst>
                  <a:gd name="connsiteX0" fmla="*/ 450234 w 450234"/>
                  <a:gd name="connsiteY0" fmla="*/ 225742 h 451484"/>
                  <a:gd name="connsiteX1" fmla="*/ 225117 w 450234"/>
                  <a:gd name="connsiteY1" fmla="*/ 451484 h 451484"/>
                  <a:gd name="connsiteX2" fmla="*/ 0 w 450234"/>
                  <a:gd name="connsiteY2" fmla="*/ 225742 h 451484"/>
                  <a:gd name="connsiteX3" fmla="*/ 225117 w 450234"/>
                  <a:gd name="connsiteY3" fmla="*/ 0 h 451484"/>
                  <a:gd name="connsiteX4" fmla="*/ 450234 w 450234"/>
                  <a:gd name="connsiteY4" fmla="*/ 225742 h 451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234" h="451484">
                    <a:moveTo>
                      <a:pt x="450234" y="225742"/>
                    </a:moveTo>
                    <a:cubicBezTo>
                      <a:pt x="450234" y="350416"/>
                      <a:pt x="349446" y="451484"/>
                      <a:pt x="225117" y="451484"/>
                    </a:cubicBezTo>
                    <a:cubicBezTo>
                      <a:pt x="100788" y="451484"/>
                      <a:pt x="0" y="350416"/>
                      <a:pt x="0" y="225742"/>
                    </a:cubicBezTo>
                    <a:cubicBezTo>
                      <a:pt x="0" y="101068"/>
                      <a:pt x="100788" y="0"/>
                      <a:pt x="225117" y="0"/>
                    </a:cubicBezTo>
                    <a:cubicBezTo>
                      <a:pt x="349446" y="0"/>
                      <a:pt x="450234" y="101068"/>
                      <a:pt x="450234" y="225742"/>
                    </a:cubicBezTo>
                    <a:close/>
                  </a:path>
                </a:pathLst>
              </a:custGeom>
              <a:solidFill>
                <a:srgbClr val="FFFFFF"/>
              </a:solidFill>
              <a:ln w="2462" cap="flat">
                <a:noFill/>
                <a:prstDash val="solid"/>
                <a:miter/>
              </a:ln>
            </p:spPr>
            <p:txBody>
              <a:bodyPr rtlCol="0" anchor="ctr"/>
              <a:lstStyle/>
              <a:p>
                <a:endParaRPr lang="zh-CN" altLang="en-US"/>
              </a:p>
            </p:txBody>
          </p:sp>
          <p:sp>
            <p:nvSpPr>
              <p:cNvPr id="18" name="任意多边形: 形状 17">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2802B983-0393-404D-8EF6-C2BC0F6D1A21}"/>
                  </a:ext>
                </a:extLst>
              </p:cNvPr>
              <p:cNvSpPr/>
              <p:nvPr/>
            </p:nvSpPr>
            <p:spPr>
              <a:xfrm>
                <a:off x="683269" y="1142808"/>
                <a:ext cx="450234" cy="450003"/>
              </a:xfrm>
              <a:custGeom>
                <a:avLst/>
                <a:gdLst>
                  <a:gd name="connsiteX0" fmla="*/ 132059 w 450234"/>
                  <a:gd name="connsiteY0" fmla="*/ 431254 h 450003"/>
                  <a:gd name="connsiteX1" fmla="*/ 0 w 450234"/>
                  <a:gd name="connsiteY1" fmla="*/ 225495 h 450003"/>
                  <a:gd name="connsiteX2" fmla="*/ 225117 w 450234"/>
                  <a:gd name="connsiteY2" fmla="*/ 0 h 450003"/>
                  <a:gd name="connsiteX3" fmla="*/ 450234 w 450234"/>
                  <a:gd name="connsiteY3" fmla="*/ 225495 h 450003"/>
                  <a:gd name="connsiteX4" fmla="*/ 248320 w 450234"/>
                  <a:gd name="connsiteY4" fmla="*/ 450004 h 450003"/>
                  <a:gd name="connsiteX5" fmla="*/ 282384 w 450234"/>
                  <a:gd name="connsiteY5" fmla="*/ 289394 h 450003"/>
                  <a:gd name="connsiteX6" fmla="*/ 274238 w 450234"/>
                  <a:gd name="connsiteY6" fmla="*/ 244986 h 450003"/>
                  <a:gd name="connsiteX7" fmla="*/ 236965 w 450234"/>
                  <a:gd name="connsiteY7" fmla="*/ 219327 h 450003"/>
                  <a:gd name="connsiteX8" fmla="*/ 236719 w 450234"/>
                  <a:gd name="connsiteY8" fmla="*/ 219327 h 450003"/>
                  <a:gd name="connsiteX9" fmla="*/ 192534 w 450234"/>
                  <a:gd name="connsiteY9" fmla="*/ 227469 h 450003"/>
                  <a:gd name="connsiteX10" fmla="*/ 166863 w 450234"/>
                  <a:gd name="connsiteY10" fmla="*/ 264723 h 450003"/>
                  <a:gd name="connsiteX11" fmla="*/ 132059 w 450234"/>
                  <a:gd name="connsiteY11" fmla="*/ 431254 h 450003"/>
                  <a:gd name="connsiteX12" fmla="*/ 255478 w 450234"/>
                  <a:gd name="connsiteY12" fmla="*/ 75741 h 450003"/>
                  <a:gd name="connsiteX13" fmla="*/ 314473 w 450234"/>
                  <a:gd name="connsiteY13" fmla="*/ 134705 h 450003"/>
                  <a:gd name="connsiteX14" fmla="*/ 255478 w 450234"/>
                  <a:gd name="connsiteY14" fmla="*/ 193669 h 450003"/>
                  <a:gd name="connsiteX15" fmla="*/ 196484 w 450234"/>
                  <a:gd name="connsiteY15" fmla="*/ 134705 h 450003"/>
                  <a:gd name="connsiteX16" fmla="*/ 255478 w 450234"/>
                  <a:gd name="connsiteY16" fmla="*/ 75741 h 45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234" h="450003">
                    <a:moveTo>
                      <a:pt x="132059" y="431254"/>
                    </a:moveTo>
                    <a:cubicBezTo>
                      <a:pt x="54058" y="395727"/>
                      <a:pt x="0" y="317026"/>
                      <a:pt x="0" y="225495"/>
                    </a:cubicBezTo>
                    <a:cubicBezTo>
                      <a:pt x="0" y="101152"/>
                      <a:pt x="100957" y="0"/>
                      <a:pt x="225117" y="0"/>
                    </a:cubicBezTo>
                    <a:cubicBezTo>
                      <a:pt x="349277" y="0"/>
                      <a:pt x="450234" y="101152"/>
                      <a:pt x="450234" y="225495"/>
                    </a:cubicBezTo>
                    <a:cubicBezTo>
                      <a:pt x="450234" y="342190"/>
                      <a:pt x="361866" y="438162"/>
                      <a:pt x="248320" y="450004"/>
                    </a:cubicBezTo>
                    <a:lnTo>
                      <a:pt x="282384" y="289394"/>
                    </a:lnTo>
                    <a:cubicBezTo>
                      <a:pt x="285593" y="274098"/>
                      <a:pt x="282631" y="258061"/>
                      <a:pt x="274238" y="244986"/>
                    </a:cubicBezTo>
                    <a:cubicBezTo>
                      <a:pt x="265599" y="231910"/>
                      <a:pt x="252269" y="222535"/>
                      <a:pt x="236965" y="219327"/>
                    </a:cubicBezTo>
                    <a:cubicBezTo>
                      <a:pt x="236965" y="219327"/>
                      <a:pt x="236965" y="219327"/>
                      <a:pt x="236719" y="219327"/>
                    </a:cubicBezTo>
                    <a:cubicBezTo>
                      <a:pt x="221415" y="216120"/>
                      <a:pt x="205370" y="219081"/>
                      <a:pt x="192534" y="227469"/>
                    </a:cubicBezTo>
                    <a:cubicBezTo>
                      <a:pt x="179452" y="236104"/>
                      <a:pt x="170072" y="249426"/>
                      <a:pt x="166863" y="264723"/>
                    </a:cubicBezTo>
                    <a:lnTo>
                      <a:pt x="132059" y="431254"/>
                    </a:lnTo>
                    <a:close/>
                    <a:moveTo>
                      <a:pt x="255478" y="75741"/>
                    </a:moveTo>
                    <a:cubicBezTo>
                      <a:pt x="288061" y="75741"/>
                      <a:pt x="314473" y="102386"/>
                      <a:pt x="314473" y="134705"/>
                    </a:cubicBezTo>
                    <a:cubicBezTo>
                      <a:pt x="314473" y="167024"/>
                      <a:pt x="288061" y="193669"/>
                      <a:pt x="255478" y="193669"/>
                    </a:cubicBezTo>
                    <a:cubicBezTo>
                      <a:pt x="222896" y="193669"/>
                      <a:pt x="196484" y="167024"/>
                      <a:pt x="196484" y="134705"/>
                    </a:cubicBezTo>
                    <a:cubicBezTo>
                      <a:pt x="196484" y="102386"/>
                      <a:pt x="222896" y="75741"/>
                      <a:pt x="255478" y="75741"/>
                    </a:cubicBezTo>
                    <a:close/>
                  </a:path>
                </a:pathLst>
              </a:custGeom>
              <a:gradFill flip="none" rotWithShape="1">
                <a:gsLst>
                  <a:gs pos="0">
                    <a:srgbClr val="F93E36"/>
                  </a:gs>
                  <a:gs pos="100000">
                    <a:srgbClr val="FE6440"/>
                  </a:gs>
                </a:gsLst>
                <a:lin ang="18900000" scaled="1"/>
                <a:tileRect/>
              </a:gradFill>
              <a:ln w="2462" cap="flat">
                <a:noFill/>
                <a:prstDash val="solid"/>
                <a:miter/>
              </a:ln>
            </p:spPr>
            <p:txBody>
              <a:bodyPr rtlCol="0" anchor="ctr"/>
              <a:lstStyle/>
              <a:p>
                <a:endParaRPr lang="zh-CN" altLang="en-US" dirty="0"/>
              </a:p>
            </p:txBody>
          </p:sp>
        </p:grpSp>
        <p:sp>
          <p:nvSpPr>
            <p:cNvPr id="16" name="任意多边形: 形状 15">
              <a:extLst>
                <a:ext uri="{FF2B5EF4-FFF2-40B4-BE49-F238E27FC236}">
                  <a16:creationId xmlns:a16="http://schemas.microsoft.com/office/drawing/2014/main" xmlns:p14="http://schemas.microsoft.com/office/powerpoint/2010/main" xmlns:a14="http://schemas.microsoft.com/office/drawing/2010/main" xmlns:ahyp="http://schemas.microsoft.com/office/drawing/2018/hyperlinkcolor" xmlns="" id="{2C1218BD-82A2-4F82-84D5-EBFDB414ABDB}"/>
                </a:ext>
              </a:extLst>
            </p:cNvPr>
            <p:cNvSpPr/>
            <p:nvPr/>
          </p:nvSpPr>
          <p:spPr>
            <a:xfrm>
              <a:off x="1223599" y="1212380"/>
              <a:ext cx="1055237" cy="315374"/>
            </a:xfrm>
            <a:custGeom>
              <a:avLst/>
              <a:gdLst>
                <a:gd name="connsiteX0" fmla="*/ 952120 w 1055237"/>
                <a:gd name="connsiteY0" fmla="*/ 133688 h 315374"/>
                <a:gd name="connsiteX1" fmla="*/ 916514 w 1055237"/>
                <a:gd name="connsiteY1" fmla="*/ 136186 h 315374"/>
                <a:gd name="connsiteX2" fmla="*/ 874304 w 1055237"/>
                <a:gd name="connsiteY2" fmla="*/ 188982 h 315374"/>
                <a:gd name="connsiteX3" fmla="*/ 982913 w 1055237"/>
                <a:gd name="connsiteY3" fmla="*/ 149508 h 315374"/>
                <a:gd name="connsiteX4" fmla="*/ 952120 w 1055237"/>
                <a:gd name="connsiteY4" fmla="*/ 133688 h 315374"/>
                <a:gd name="connsiteX5" fmla="*/ 657333 w 1055237"/>
                <a:gd name="connsiteY5" fmla="*/ 128044 h 315374"/>
                <a:gd name="connsiteX6" fmla="*/ 588218 w 1055237"/>
                <a:gd name="connsiteY6" fmla="*/ 197123 h 315374"/>
                <a:gd name="connsiteX7" fmla="*/ 657333 w 1055237"/>
                <a:gd name="connsiteY7" fmla="*/ 266203 h 315374"/>
                <a:gd name="connsiteX8" fmla="*/ 726448 w 1055237"/>
                <a:gd name="connsiteY8" fmla="*/ 201071 h 315374"/>
                <a:gd name="connsiteX9" fmla="*/ 726448 w 1055237"/>
                <a:gd name="connsiteY9" fmla="*/ 193423 h 315374"/>
                <a:gd name="connsiteX10" fmla="*/ 657333 w 1055237"/>
                <a:gd name="connsiteY10" fmla="*/ 128044 h 315374"/>
                <a:gd name="connsiteX11" fmla="*/ 944739 w 1055237"/>
                <a:gd name="connsiteY11" fmla="*/ 79018 h 315374"/>
                <a:gd name="connsiteX12" fmla="*/ 1050054 w 1055237"/>
                <a:gd name="connsiteY12" fmla="*/ 156663 h 315374"/>
                <a:gd name="connsiteX13" fmla="*/ 1055237 w 1055237"/>
                <a:gd name="connsiteY13" fmla="*/ 175660 h 315374"/>
                <a:gd name="connsiteX14" fmla="*/ 1004142 w 1055237"/>
                <a:gd name="connsiteY14" fmla="*/ 194163 h 315374"/>
                <a:gd name="connsiteX15" fmla="*/ 887387 w 1055237"/>
                <a:gd name="connsiteY15" fmla="*/ 236598 h 315374"/>
                <a:gd name="connsiteX16" fmla="*/ 960945 w 1055237"/>
                <a:gd name="connsiteY16" fmla="*/ 257815 h 315374"/>
                <a:gd name="connsiteX17" fmla="*/ 1000933 w 1055237"/>
                <a:gd name="connsiteY17" fmla="*/ 215381 h 315374"/>
                <a:gd name="connsiteX18" fmla="*/ 1052275 w 1055237"/>
                <a:gd name="connsiteY18" fmla="*/ 230677 h 315374"/>
                <a:gd name="connsiteX19" fmla="*/ 979211 w 1055237"/>
                <a:gd name="connsiteY19" fmla="*/ 308145 h 315374"/>
                <a:gd name="connsiteX20" fmla="*/ 827405 w 1055237"/>
                <a:gd name="connsiteY20" fmla="*/ 237585 h 315374"/>
                <a:gd name="connsiteX21" fmla="*/ 898248 w 1055237"/>
                <a:gd name="connsiteY21" fmla="*/ 86103 h 315374"/>
                <a:gd name="connsiteX22" fmla="*/ 944739 w 1055237"/>
                <a:gd name="connsiteY22" fmla="*/ 79018 h 315374"/>
                <a:gd name="connsiteX23" fmla="*/ 451469 w 1055237"/>
                <a:gd name="connsiteY23" fmla="*/ 78948 h 315374"/>
                <a:gd name="connsiteX24" fmla="*/ 500837 w 1055237"/>
                <a:gd name="connsiteY24" fmla="*/ 78948 h 315374"/>
                <a:gd name="connsiteX25" fmla="*/ 500837 w 1055237"/>
                <a:gd name="connsiteY25" fmla="*/ 315299 h 315374"/>
                <a:gd name="connsiteX26" fmla="*/ 451469 w 1055237"/>
                <a:gd name="connsiteY26" fmla="*/ 315299 h 315374"/>
                <a:gd name="connsiteX27" fmla="*/ 4937 w 1055237"/>
                <a:gd name="connsiteY27" fmla="*/ 78948 h 315374"/>
                <a:gd name="connsiteX28" fmla="*/ 54305 w 1055237"/>
                <a:gd name="connsiteY28" fmla="*/ 78948 h 315374"/>
                <a:gd name="connsiteX29" fmla="*/ 54305 w 1055237"/>
                <a:gd name="connsiteY29" fmla="*/ 315299 h 315374"/>
                <a:gd name="connsiteX30" fmla="*/ 4937 w 1055237"/>
                <a:gd name="connsiteY30" fmla="*/ 315299 h 315374"/>
                <a:gd name="connsiteX31" fmla="*/ 775815 w 1055237"/>
                <a:gd name="connsiteY31" fmla="*/ 0 h 315374"/>
                <a:gd name="connsiteX32" fmla="*/ 775815 w 1055237"/>
                <a:gd name="connsiteY32" fmla="*/ 315299 h 315374"/>
                <a:gd name="connsiteX33" fmla="*/ 726448 w 1055237"/>
                <a:gd name="connsiteY33" fmla="*/ 315299 h 315374"/>
                <a:gd name="connsiteX34" fmla="*/ 726448 w 1055237"/>
                <a:gd name="connsiteY34" fmla="*/ 293095 h 315374"/>
                <a:gd name="connsiteX35" fmla="*/ 657333 w 1055237"/>
                <a:gd name="connsiteY35" fmla="*/ 315299 h 315374"/>
                <a:gd name="connsiteX36" fmla="*/ 538850 w 1055237"/>
                <a:gd name="connsiteY36" fmla="*/ 197123 h 315374"/>
                <a:gd name="connsiteX37" fmla="*/ 657333 w 1055237"/>
                <a:gd name="connsiteY37" fmla="*/ 78948 h 315374"/>
                <a:gd name="connsiteX38" fmla="*/ 726448 w 1055237"/>
                <a:gd name="connsiteY38" fmla="*/ 101152 h 315374"/>
                <a:gd name="connsiteX39" fmla="*/ 726448 w 1055237"/>
                <a:gd name="connsiteY39" fmla="*/ 247 h 315374"/>
                <a:gd name="connsiteX40" fmla="*/ 476153 w 1055237"/>
                <a:gd name="connsiteY40" fmla="*/ 0 h 315374"/>
                <a:gd name="connsiteX41" fmla="*/ 505773 w 1055237"/>
                <a:gd name="connsiteY41" fmla="*/ 29606 h 315374"/>
                <a:gd name="connsiteX42" fmla="*/ 476153 w 1055237"/>
                <a:gd name="connsiteY42" fmla="*/ 59211 h 315374"/>
                <a:gd name="connsiteX43" fmla="*/ 446532 w 1055237"/>
                <a:gd name="connsiteY43" fmla="*/ 29606 h 315374"/>
                <a:gd name="connsiteX44" fmla="*/ 476153 w 1055237"/>
                <a:gd name="connsiteY44" fmla="*/ 0 h 315374"/>
                <a:gd name="connsiteX45" fmla="*/ 352733 w 1055237"/>
                <a:gd name="connsiteY45" fmla="*/ 0 h 315374"/>
                <a:gd name="connsiteX46" fmla="*/ 402101 w 1055237"/>
                <a:gd name="connsiteY46" fmla="*/ 0 h 315374"/>
                <a:gd name="connsiteX47" fmla="*/ 402101 w 1055237"/>
                <a:gd name="connsiteY47" fmla="*/ 315299 h 315374"/>
                <a:gd name="connsiteX48" fmla="*/ 352733 w 1055237"/>
                <a:gd name="connsiteY48" fmla="*/ 315299 h 315374"/>
                <a:gd name="connsiteX49" fmla="*/ 205370 w 1055237"/>
                <a:gd name="connsiteY49" fmla="*/ 0 h 315374"/>
                <a:gd name="connsiteX50" fmla="*/ 297194 w 1055237"/>
                <a:gd name="connsiteY50" fmla="*/ 29112 h 315374"/>
                <a:gd name="connsiteX51" fmla="*/ 300897 w 1055237"/>
                <a:gd name="connsiteY51" fmla="*/ 32319 h 315374"/>
                <a:gd name="connsiteX52" fmla="*/ 271523 w 1055237"/>
                <a:gd name="connsiteY52" fmla="*/ 67599 h 315374"/>
                <a:gd name="connsiteX53" fmla="*/ 268808 w 1055237"/>
                <a:gd name="connsiteY53" fmla="*/ 65132 h 315374"/>
                <a:gd name="connsiteX54" fmla="*/ 267573 w 1055237"/>
                <a:gd name="connsiteY54" fmla="*/ 63899 h 315374"/>
                <a:gd name="connsiteX55" fmla="*/ 203149 w 1055237"/>
                <a:gd name="connsiteY55" fmla="*/ 44408 h 315374"/>
                <a:gd name="connsiteX56" fmla="*/ 148844 w 1055237"/>
                <a:gd name="connsiteY56" fmla="*/ 90050 h 315374"/>
                <a:gd name="connsiteX57" fmla="*/ 159952 w 1055237"/>
                <a:gd name="connsiteY57" fmla="*/ 116942 h 315374"/>
                <a:gd name="connsiteX58" fmla="*/ 192288 w 1055237"/>
                <a:gd name="connsiteY58" fmla="*/ 130758 h 315374"/>
                <a:gd name="connsiteX59" fmla="*/ 230054 w 1055237"/>
                <a:gd name="connsiteY59" fmla="*/ 136185 h 315374"/>
                <a:gd name="connsiteX60" fmla="*/ 288308 w 1055237"/>
                <a:gd name="connsiteY60" fmla="*/ 159376 h 315374"/>
                <a:gd name="connsiteX61" fmla="*/ 311511 w 1055237"/>
                <a:gd name="connsiteY61" fmla="*/ 223275 h 315374"/>
                <a:gd name="connsiteX62" fmla="*/ 279422 w 1055237"/>
                <a:gd name="connsiteY62" fmla="*/ 291121 h 315374"/>
                <a:gd name="connsiteX63" fmla="*/ 198459 w 1055237"/>
                <a:gd name="connsiteY63" fmla="*/ 315299 h 315374"/>
                <a:gd name="connsiteX64" fmla="*/ 92071 w 1055237"/>
                <a:gd name="connsiteY64" fmla="*/ 280512 h 315374"/>
                <a:gd name="connsiteX65" fmla="*/ 122432 w 1055237"/>
                <a:gd name="connsiteY65" fmla="*/ 244739 h 315374"/>
                <a:gd name="connsiteX66" fmla="*/ 199199 w 1055237"/>
                <a:gd name="connsiteY66" fmla="*/ 269657 h 315374"/>
                <a:gd name="connsiteX67" fmla="*/ 260909 w 1055237"/>
                <a:gd name="connsiteY67" fmla="*/ 225002 h 315374"/>
                <a:gd name="connsiteX68" fmla="*/ 249307 w 1055237"/>
                <a:gd name="connsiteY68" fmla="*/ 194410 h 315374"/>
                <a:gd name="connsiteX69" fmla="*/ 218206 w 1055237"/>
                <a:gd name="connsiteY69" fmla="*/ 181827 h 315374"/>
                <a:gd name="connsiteX70" fmla="*/ 179699 w 1055237"/>
                <a:gd name="connsiteY70" fmla="*/ 176399 h 315374"/>
                <a:gd name="connsiteX71" fmla="*/ 120704 w 1055237"/>
                <a:gd name="connsiteY71" fmla="*/ 151235 h 315374"/>
                <a:gd name="connsiteX72" fmla="*/ 99229 w 1055237"/>
                <a:gd name="connsiteY72" fmla="*/ 91777 h 315374"/>
                <a:gd name="connsiteX73" fmla="*/ 205370 w 1055237"/>
                <a:gd name="connsiteY73" fmla="*/ 0 h 315374"/>
                <a:gd name="connsiteX74" fmla="*/ 29621 w 1055237"/>
                <a:gd name="connsiteY74" fmla="*/ 0 h 315374"/>
                <a:gd name="connsiteX75" fmla="*/ 59241 w 1055237"/>
                <a:gd name="connsiteY75" fmla="*/ 29606 h 315374"/>
                <a:gd name="connsiteX76" fmla="*/ 29621 w 1055237"/>
                <a:gd name="connsiteY76" fmla="*/ 59211 h 315374"/>
                <a:gd name="connsiteX77" fmla="*/ 0 w 1055237"/>
                <a:gd name="connsiteY77" fmla="*/ 29606 h 315374"/>
                <a:gd name="connsiteX78" fmla="*/ 29621 w 1055237"/>
                <a:gd name="connsiteY78" fmla="*/ 0 h 31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055237" h="315374">
                  <a:moveTo>
                    <a:pt x="952120" y="133688"/>
                  </a:moveTo>
                  <a:cubicBezTo>
                    <a:pt x="940642" y="131252"/>
                    <a:pt x="928362" y="131869"/>
                    <a:pt x="916514" y="136186"/>
                  </a:cubicBezTo>
                  <a:cubicBezTo>
                    <a:pt x="892817" y="144821"/>
                    <a:pt x="877266" y="165791"/>
                    <a:pt x="874304" y="188982"/>
                  </a:cubicBezTo>
                  <a:lnTo>
                    <a:pt x="982913" y="149508"/>
                  </a:lnTo>
                  <a:cubicBezTo>
                    <a:pt x="974274" y="141614"/>
                    <a:pt x="963598" y="136124"/>
                    <a:pt x="952120" y="133688"/>
                  </a:cubicBezTo>
                  <a:close/>
                  <a:moveTo>
                    <a:pt x="657333" y="128044"/>
                  </a:moveTo>
                  <a:cubicBezTo>
                    <a:pt x="619073" y="128044"/>
                    <a:pt x="588218" y="158883"/>
                    <a:pt x="588218" y="197123"/>
                  </a:cubicBezTo>
                  <a:cubicBezTo>
                    <a:pt x="588218" y="235364"/>
                    <a:pt x="619319" y="266203"/>
                    <a:pt x="657333" y="266203"/>
                  </a:cubicBezTo>
                  <a:cubicBezTo>
                    <a:pt x="694359" y="266203"/>
                    <a:pt x="724473" y="237338"/>
                    <a:pt x="726448" y="201071"/>
                  </a:cubicBezTo>
                  <a:lnTo>
                    <a:pt x="726448" y="193423"/>
                  </a:lnTo>
                  <a:cubicBezTo>
                    <a:pt x="724473" y="156909"/>
                    <a:pt x="694359" y="128044"/>
                    <a:pt x="657333" y="128044"/>
                  </a:cubicBezTo>
                  <a:close/>
                  <a:moveTo>
                    <a:pt x="944739" y="79018"/>
                  </a:moveTo>
                  <a:cubicBezTo>
                    <a:pt x="990813" y="81308"/>
                    <a:pt x="1033207" y="110590"/>
                    <a:pt x="1050054" y="156663"/>
                  </a:cubicBezTo>
                  <a:cubicBezTo>
                    <a:pt x="1052275" y="162831"/>
                    <a:pt x="1054003" y="169245"/>
                    <a:pt x="1055237" y="175660"/>
                  </a:cubicBezTo>
                  <a:lnTo>
                    <a:pt x="1004142" y="194163"/>
                  </a:lnTo>
                  <a:lnTo>
                    <a:pt x="887387" y="236598"/>
                  </a:lnTo>
                  <a:cubicBezTo>
                    <a:pt x="904172" y="258309"/>
                    <a:pt x="933792" y="267684"/>
                    <a:pt x="960945" y="257815"/>
                  </a:cubicBezTo>
                  <a:cubicBezTo>
                    <a:pt x="980198" y="250907"/>
                    <a:pt x="995009" y="235118"/>
                    <a:pt x="1000933" y="215381"/>
                  </a:cubicBezTo>
                  <a:lnTo>
                    <a:pt x="1052275" y="230677"/>
                  </a:lnTo>
                  <a:cubicBezTo>
                    <a:pt x="1041661" y="266697"/>
                    <a:pt x="1014509" y="295315"/>
                    <a:pt x="979211" y="308145"/>
                  </a:cubicBezTo>
                  <a:cubicBezTo>
                    <a:pt x="917748" y="330595"/>
                    <a:pt x="849867" y="299016"/>
                    <a:pt x="827405" y="237585"/>
                  </a:cubicBezTo>
                  <a:cubicBezTo>
                    <a:pt x="804942" y="176400"/>
                    <a:pt x="836785" y="108307"/>
                    <a:pt x="898248" y="86103"/>
                  </a:cubicBezTo>
                  <a:cubicBezTo>
                    <a:pt x="913614" y="80490"/>
                    <a:pt x="929381" y="78255"/>
                    <a:pt x="944739" y="79018"/>
                  </a:cubicBezTo>
                  <a:close/>
                  <a:moveTo>
                    <a:pt x="451469" y="78948"/>
                  </a:moveTo>
                  <a:lnTo>
                    <a:pt x="500837" y="78948"/>
                  </a:lnTo>
                  <a:lnTo>
                    <a:pt x="500837" y="315299"/>
                  </a:lnTo>
                  <a:lnTo>
                    <a:pt x="451469" y="315299"/>
                  </a:lnTo>
                  <a:close/>
                  <a:moveTo>
                    <a:pt x="4937" y="78948"/>
                  </a:moveTo>
                  <a:lnTo>
                    <a:pt x="54305" y="78948"/>
                  </a:lnTo>
                  <a:lnTo>
                    <a:pt x="54305" y="315299"/>
                  </a:lnTo>
                  <a:lnTo>
                    <a:pt x="4937" y="315299"/>
                  </a:lnTo>
                  <a:close/>
                  <a:moveTo>
                    <a:pt x="775815" y="0"/>
                  </a:moveTo>
                  <a:lnTo>
                    <a:pt x="775815" y="315299"/>
                  </a:lnTo>
                  <a:lnTo>
                    <a:pt x="726448" y="315299"/>
                  </a:lnTo>
                  <a:lnTo>
                    <a:pt x="726448" y="293095"/>
                  </a:lnTo>
                  <a:cubicBezTo>
                    <a:pt x="706947" y="307157"/>
                    <a:pt x="683004" y="315299"/>
                    <a:pt x="657333" y="315299"/>
                  </a:cubicBezTo>
                  <a:cubicBezTo>
                    <a:pt x="591920" y="315299"/>
                    <a:pt x="538850" y="262255"/>
                    <a:pt x="538850" y="197123"/>
                  </a:cubicBezTo>
                  <a:cubicBezTo>
                    <a:pt x="538850" y="131991"/>
                    <a:pt x="591920" y="78948"/>
                    <a:pt x="657333" y="78948"/>
                  </a:cubicBezTo>
                  <a:cubicBezTo>
                    <a:pt x="683004" y="78948"/>
                    <a:pt x="706947" y="87090"/>
                    <a:pt x="726448" y="101152"/>
                  </a:cubicBezTo>
                  <a:lnTo>
                    <a:pt x="726448" y="247"/>
                  </a:lnTo>
                  <a:close/>
                  <a:moveTo>
                    <a:pt x="476153" y="0"/>
                  </a:moveTo>
                  <a:cubicBezTo>
                    <a:pt x="492444" y="0"/>
                    <a:pt x="505773" y="13322"/>
                    <a:pt x="505773" y="29606"/>
                  </a:cubicBezTo>
                  <a:cubicBezTo>
                    <a:pt x="505773" y="45889"/>
                    <a:pt x="492444" y="59211"/>
                    <a:pt x="476153" y="59211"/>
                  </a:cubicBezTo>
                  <a:cubicBezTo>
                    <a:pt x="459861" y="59211"/>
                    <a:pt x="446532" y="45889"/>
                    <a:pt x="446532" y="29606"/>
                  </a:cubicBezTo>
                  <a:cubicBezTo>
                    <a:pt x="446532" y="13322"/>
                    <a:pt x="459861" y="0"/>
                    <a:pt x="476153" y="0"/>
                  </a:cubicBezTo>
                  <a:close/>
                  <a:moveTo>
                    <a:pt x="352733" y="0"/>
                  </a:moveTo>
                  <a:lnTo>
                    <a:pt x="402101" y="0"/>
                  </a:lnTo>
                  <a:lnTo>
                    <a:pt x="402101" y="315299"/>
                  </a:lnTo>
                  <a:lnTo>
                    <a:pt x="352733" y="315299"/>
                  </a:lnTo>
                  <a:close/>
                  <a:moveTo>
                    <a:pt x="205370" y="0"/>
                  </a:moveTo>
                  <a:cubicBezTo>
                    <a:pt x="245111" y="0"/>
                    <a:pt x="273004" y="8882"/>
                    <a:pt x="297194" y="29112"/>
                  </a:cubicBezTo>
                  <a:lnTo>
                    <a:pt x="300897" y="32319"/>
                  </a:lnTo>
                  <a:lnTo>
                    <a:pt x="271523" y="67599"/>
                  </a:lnTo>
                  <a:cubicBezTo>
                    <a:pt x="271523" y="67599"/>
                    <a:pt x="269795" y="66119"/>
                    <a:pt x="268808" y="65132"/>
                  </a:cubicBezTo>
                  <a:cubicBezTo>
                    <a:pt x="268314" y="64639"/>
                    <a:pt x="267820" y="63899"/>
                    <a:pt x="267573" y="63899"/>
                  </a:cubicBezTo>
                  <a:cubicBezTo>
                    <a:pt x="246839" y="46875"/>
                    <a:pt x="222402" y="44408"/>
                    <a:pt x="203149" y="44408"/>
                  </a:cubicBezTo>
                  <a:cubicBezTo>
                    <a:pt x="163161" y="44408"/>
                    <a:pt x="148844" y="69080"/>
                    <a:pt x="148844" y="90050"/>
                  </a:cubicBezTo>
                  <a:cubicBezTo>
                    <a:pt x="148844" y="100412"/>
                    <a:pt x="152793" y="110034"/>
                    <a:pt x="159952" y="116942"/>
                  </a:cubicBezTo>
                  <a:cubicBezTo>
                    <a:pt x="167604" y="124096"/>
                    <a:pt x="179205" y="129031"/>
                    <a:pt x="192288" y="130758"/>
                  </a:cubicBezTo>
                  <a:lnTo>
                    <a:pt x="230054" y="136185"/>
                  </a:lnTo>
                  <a:cubicBezTo>
                    <a:pt x="256466" y="139886"/>
                    <a:pt x="274485" y="147041"/>
                    <a:pt x="288308" y="159376"/>
                  </a:cubicBezTo>
                  <a:cubicBezTo>
                    <a:pt x="303612" y="173932"/>
                    <a:pt x="311264" y="195396"/>
                    <a:pt x="311511" y="223275"/>
                  </a:cubicBezTo>
                  <a:cubicBezTo>
                    <a:pt x="311511" y="251153"/>
                    <a:pt x="300403" y="274591"/>
                    <a:pt x="279422" y="291121"/>
                  </a:cubicBezTo>
                  <a:cubicBezTo>
                    <a:pt x="259428" y="306664"/>
                    <a:pt x="230548" y="315299"/>
                    <a:pt x="198459" y="315299"/>
                  </a:cubicBezTo>
                  <a:cubicBezTo>
                    <a:pt x="151066" y="315299"/>
                    <a:pt x="118730" y="304690"/>
                    <a:pt x="92071" y="280512"/>
                  </a:cubicBezTo>
                  <a:lnTo>
                    <a:pt x="122432" y="244739"/>
                  </a:lnTo>
                  <a:cubicBezTo>
                    <a:pt x="141192" y="261515"/>
                    <a:pt x="166369" y="269657"/>
                    <a:pt x="199199" y="269657"/>
                  </a:cubicBezTo>
                  <a:cubicBezTo>
                    <a:pt x="252763" y="269657"/>
                    <a:pt x="260909" y="241778"/>
                    <a:pt x="260909" y="225002"/>
                  </a:cubicBezTo>
                  <a:cubicBezTo>
                    <a:pt x="260909" y="212173"/>
                    <a:pt x="256959" y="201811"/>
                    <a:pt x="249307" y="194410"/>
                  </a:cubicBezTo>
                  <a:cubicBezTo>
                    <a:pt x="241902" y="187502"/>
                    <a:pt x="233757" y="184294"/>
                    <a:pt x="218206" y="181827"/>
                  </a:cubicBezTo>
                  <a:lnTo>
                    <a:pt x="179699" y="176399"/>
                  </a:lnTo>
                  <a:cubicBezTo>
                    <a:pt x="153534" y="172452"/>
                    <a:pt x="134034" y="164311"/>
                    <a:pt x="120704" y="151235"/>
                  </a:cubicBezTo>
                  <a:cubicBezTo>
                    <a:pt x="106388" y="136679"/>
                    <a:pt x="99229" y="117188"/>
                    <a:pt x="99229" y="91777"/>
                  </a:cubicBezTo>
                  <a:cubicBezTo>
                    <a:pt x="99476" y="36020"/>
                    <a:pt x="140945" y="0"/>
                    <a:pt x="205370" y="0"/>
                  </a:cubicBezTo>
                  <a:close/>
                  <a:moveTo>
                    <a:pt x="29621" y="0"/>
                  </a:moveTo>
                  <a:cubicBezTo>
                    <a:pt x="45980" y="0"/>
                    <a:pt x="59241" y="13255"/>
                    <a:pt x="59241" y="29606"/>
                  </a:cubicBezTo>
                  <a:cubicBezTo>
                    <a:pt x="59241" y="45956"/>
                    <a:pt x="45980" y="59211"/>
                    <a:pt x="29621" y="59211"/>
                  </a:cubicBezTo>
                  <a:cubicBezTo>
                    <a:pt x="13262" y="59211"/>
                    <a:pt x="0" y="45956"/>
                    <a:pt x="0" y="29606"/>
                  </a:cubicBezTo>
                  <a:cubicBezTo>
                    <a:pt x="0" y="13255"/>
                    <a:pt x="13262" y="0"/>
                    <a:pt x="29621" y="0"/>
                  </a:cubicBezTo>
                  <a:close/>
                </a:path>
              </a:pathLst>
            </a:custGeom>
            <a:solidFill>
              <a:srgbClr val="2F2F2F"/>
            </a:solidFill>
            <a:ln w="2462" cap="flat">
              <a:noFill/>
              <a:prstDash val="solid"/>
              <a:miter/>
            </a:ln>
          </p:spPr>
          <p:txBody>
            <a:bodyPr rtlCol="0" anchor="ctr"/>
            <a:lstStyle/>
            <a:p>
              <a:endParaRPr lang="zh-CN" altLang="en-US"/>
            </a:p>
          </p:txBody>
        </p:sp>
      </p:grpSp>
    </p:spTree>
    <p:custDataLst>
      <p:tags r:id="rId1"/>
    </p:custDataLst>
    <p:extLst>
      <p:ext uri="{BB962C8B-B14F-4D97-AF65-F5344CB8AC3E}">
        <p14:creationId xmlns:p14="http://schemas.microsoft.com/office/powerpoint/2010/main" val="123719266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xmlns:p14="http://schemas.microsoft.com/office/powerpoint/2010/main" xmlns="" id="{C0498D3A-B738-48EC-A39C-94C58B88932B}"/>
              </a:ext>
            </a:extLst>
          </p:cNvPr>
          <p:cNvGrpSpPr/>
          <p:nvPr/>
        </p:nvGrpSpPr>
        <p:grpSpPr>
          <a:xfrm>
            <a:off x="757282" y="1700808"/>
            <a:ext cx="10763205" cy="4083608"/>
            <a:chOff x="757282" y="1700808"/>
            <a:chExt cx="10763205"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xmlns:p14="http://schemas.microsoft.com/office/powerpoint/2010/main" xmlns=""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iṡľïḑè">
                <a:extLst>
                  <a:ext uri="{FF2B5EF4-FFF2-40B4-BE49-F238E27FC236}">
                    <a16:creationId xmlns:a16="http://schemas.microsoft.com/office/drawing/2014/main" xmlns:p14="http://schemas.microsoft.com/office/powerpoint/2010/main" xmlns=""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b="0" dirty="0" err="1" smtClean="0">
                    <a:latin typeface="+mn-lt"/>
                    <a:ea typeface="+mn-ea"/>
                    <a:sym typeface="+mn-lt"/>
                  </a:rPr>
                  <a:t>Subtit</a:t>
                </a:r>
                <a:r>
                  <a:rPr lang="en-US" altLang="zh-CN" sz="100" b="0" dirty="0" smtClean="0">
                    <a:latin typeface="+mn-lt"/>
                    <a:ea typeface="+mn-ea"/>
                    <a:sym typeface="+mn-lt"/>
                  </a:rPr>
                  <a:t> </a:t>
                </a:r>
                <a:r>
                  <a:rPr lang="en-US" altLang="zh-CN" b="0" dirty="0" smtClean="0">
                    <a:latin typeface="+mn-lt"/>
                    <a:ea typeface="+mn-ea"/>
                    <a:sym typeface="+mn-lt"/>
                  </a:rPr>
                  <a:t>le </a:t>
                </a:r>
                <a:r>
                  <a:rPr lang="en-US" altLang="zh-CN" b="0" dirty="0">
                    <a:latin typeface="+mn-lt"/>
                    <a:ea typeface="+mn-ea"/>
                    <a:sym typeface="+mn-lt"/>
                  </a:rPr>
                  <a:t>Here</a:t>
                </a:r>
              </a:p>
              <a:p>
                <a:pPr marL="342900" indent="-342900">
                  <a:lnSpc>
                    <a:spcPct val="150000"/>
                  </a:lnSpc>
                  <a:buFont typeface="+mj-lt"/>
                  <a:buAutoNum type="arabicPeriod"/>
                </a:pPr>
                <a:r>
                  <a:rPr lang="en-US" altLang="zh-CN" b="0" dirty="0">
                    <a:latin typeface="+mn-lt"/>
                    <a:ea typeface="+mn-ea"/>
                    <a:sym typeface="+mn-lt"/>
                  </a:rPr>
                  <a:t>…</a:t>
                </a:r>
              </a:p>
              <a:p>
                <a:pPr marL="342900" indent="-342900">
                  <a:lnSpc>
                    <a:spcPct val="150000"/>
                  </a:lnSpc>
                  <a:buFont typeface="+mj-lt"/>
                  <a:buAutoNum type="arabicPeriod"/>
                </a:pPr>
                <a:r>
                  <a:rPr lang="en-US" altLang="zh-CN" b="0" dirty="0">
                    <a:latin typeface="+mn-lt"/>
                    <a:ea typeface="+mn-ea"/>
                    <a:sym typeface="+mn-lt"/>
                  </a:rPr>
                  <a:t>…</a:t>
                </a:r>
              </a:p>
              <a:p>
                <a:pPr marL="342900" indent="-342900">
                  <a:lnSpc>
                    <a:spcPct val="150000"/>
                  </a:lnSpc>
                  <a:buFont typeface="+mj-lt"/>
                  <a:buAutoNum type="arabicPeriod"/>
                </a:pPr>
                <a:r>
                  <a:rPr lang="en-US" altLang="zh-CN" b="0" dirty="0">
                    <a:latin typeface="+mn-lt"/>
                    <a:ea typeface="+mn-ea"/>
                    <a:sym typeface="+mn-lt"/>
                  </a:rPr>
                  <a:t>…</a:t>
                </a:r>
              </a:p>
            </p:txBody>
          </p:sp>
          <p:cxnSp>
            <p:nvCxnSpPr>
              <p:cNvPr id="8" name="直接连接符 7">
                <a:extLst>
                  <a:ext uri="{FF2B5EF4-FFF2-40B4-BE49-F238E27FC236}">
                    <a16:creationId xmlns:a16="http://schemas.microsoft.com/office/drawing/2014/main" xmlns:p14="http://schemas.microsoft.com/office/powerpoint/2010/main" xmlns=""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a:extLst>
                  <a:ext uri="{FF2B5EF4-FFF2-40B4-BE49-F238E27FC236}">
                    <a16:creationId xmlns:a16="http://schemas.microsoft.com/office/drawing/2014/main" xmlns:p14="http://schemas.microsoft.com/office/powerpoint/2010/main" xmlns=""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smtClean="0">
                    <a:solidFill>
                      <a:schemeClr val="accent1"/>
                    </a:solidFill>
                    <a:cs typeface="+mn-ea"/>
                    <a:sym typeface="+mn-lt"/>
                  </a:rPr>
                  <a:t>CON</a:t>
                </a:r>
                <a:r>
                  <a:rPr lang="tr-TR" sz="100" b="1" smtClean="0">
                    <a:solidFill>
                      <a:schemeClr val="accent1"/>
                    </a:solidFill>
                    <a:cs typeface="+mn-ea"/>
                    <a:sym typeface="+mn-lt"/>
                  </a:rPr>
                  <a:t> </a:t>
                </a:r>
                <a:r>
                  <a:rPr lang="tr-TR" sz="2800" b="1" smtClean="0">
                    <a:solidFill>
                      <a:schemeClr val="accent1"/>
                    </a:solidFill>
                    <a:cs typeface="+mn-ea"/>
                    <a:sym typeface="+mn-lt"/>
                  </a:rPr>
                  <a:t>TENTS</a:t>
                </a:r>
                <a:endParaRPr lang="tr-TR" sz="2800" b="1" dirty="0">
                  <a:solidFill>
                    <a:schemeClr val="accent1"/>
                  </a:solidFill>
                  <a:cs typeface="+mn-ea"/>
                  <a:sym typeface="+mn-lt"/>
                </a:endParaRPr>
              </a:p>
            </p:txBody>
          </p:sp>
        </p:grpSp>
        <p:sp>
          <p:nvSpPr>
            <p:cNvPr id="10" name="poetry_91022">
              <a:extLst>
                <a:ext uri="{FF2B5EF4-FFF2-40B4-BE49-F238E27FC236}">
                  <a16:creationId xmlns:a16="http://schemas.microsoft.com/office/drawing/2014/main" xmlns:p14="http://schemas.microsoft.com/office/powerpoint/2010/main" xmlns=""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custDataLst>
      <p:tags r:id="rId2"/>
    </p:custDataLst>
    <p:extLst>
      <p:ext uri="{BB962C8B-B14F-4D97-AF65-F5344CB8AC3E}">
        <p14:creationId xmlns:p14="http://schemas.microsoft.com/office/powerpoint/2010/main" val="9119331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smtClean="0"/>
              <a:t>Sect</a:t>
            </a:r>
            <a:r>
              <a:rPr lang="en-US" altLang="zh-CN" sz="100" smtClean="0"/>
              <a:t> </a:t>
            </a:r>
            <a:r>
              <a:rPr lang="en-US" altLang="zh-CN" smtClean="0"/>
              <a:t>ion </a:t>
            </a:r>
            <a:r>
              <a:rPr lang="en-US" altLang="zh-CN"/>
              <a:t>Header Here</a:t>
            </a:r>
            <a:endParaRPr lang="zh-CN" altLang="en-US" dirty="0"/>
          </a:p>
        </p:txBody>
      </p:sp>
      <p:sp>
        <p:nvSpPr>
          <p:cNvPr id="6" name="文本占位符 5"/>
          <p:cNvSpPr>
            <a:spLocks noGrp="1"/>
          </p:cNvSpPr>
          <p:nvPr>
            <p:ph type="body" idx="1"/>
          </p:nvPr>
        </p:nvSpPr>
        <p:spPr/>
        <p:txBody>
          <a:bodyPr/>
          <a:lstStyle/>
          <a:p>
            <a:pPr lvl="0"/>
            <a:r>
              <a:rPr lang="en-US" altLang="zh-CN"/>
              <a:t>Supporting </a:t>
            </a:r>
            <a:r>
              <a:rPr lang="en-US" altLang="zh-CN" smtClean="0"/>
              <a:t>tex</a:t>
            </a:r>
            <a:r>
              <a:rPr lang="en-US" altLang="zh-CN" sz="100" smtClean="0"/>
              <a:t> </a:t>
            </a:r>
            <a:r>
              <a:rPr lang="en-US" altLang="zh-CN" smtClean="0"/>
              <a:t>t </a:t>
            </a:r>
            <a:r>
              <a:rPr lang="en-US" altLang="zh-CN" dirty="0"/>
              <a:t>here.</a:t>
            </a:r>
          </a:p>
          <a:p>
            <a:pPr lvl="0"/>
            <a:r>
              <a:rPr lang="en-US" altLang="zh-CN" dirty="0"/>
              <a:t>When you copy &amp; paste, choose "keep text only" option.</a:t>
            </a:r>
            <a:endParaRPr lang="zh-CN" altLang="en-US" dirty="0"/>
          </a:p>
        </p:txBody>
      </p:sp>
      <p:sp>
        <p:nvSpPr>
          <p:cNvPr id="9" name="文本框 8">
            <a:extLst>
              <a:ext uri="{FF2B5EF4-FFF2-40B4-BE49-F238E27FC236}">
                <a16:creationId xmlns:a16="http://schemas.microsoft.com/office/drawing/2014/main" xmlns:p14="http://schemas.microsoft.com/office/powerpoint/2010/main" xmlns="" id="{04F69230-F3A6-4586-9371-A858F4763E9F}"/>
              </a:ext>
            </a:extLst>
          </p:cNvPr>
          <p:cNvSpPr txBox="1"/>
          <p:nvPr/>
        </p:nvSpPr>
        <p:spPr>
          <a:xfrm>
            <a:off x="2636995" y="2984045"/>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bg1"/>
                </a:solidFill>
                <a:latin typeface="Impact" panose="020B0806030902050204" pitchFamily="34" charset="0"/>
                <a:cs typeface="Arial" panose="020B0604020202020204" pitchFamily="34" charset="0"/>
              </a:rPr>
              <a:t>/</a:t>
            </a:r>
            <a:r>
              <a:rPr lang="en-US" altLang="zh-CN" sz="100" spc="100" dirty="0" smtClean="0">
                <a:solidFill>
                  <a:schemeClr val="bg1"/>
                </a:solidFill>
                <a:latin typeface="Impact" panose="020B0806030902050204" pitchFamily="34" charset="0"/>
                <a:cs typeface="Arial" panose="020B0604020202020204" pitchFamily="34" charset="0"/>
              </a:rPr>
              <a:t> </a:t>
            </a:r>
            <a:r>
              <a:rPr lang="en-US" altLang="zh-CN" spc="100" dirty="0" smtClean="0">
                <a:solidFill>
                  <a:schemeClr val="bg1"/>
                </a:solidFill>
                <a:latin typeface="Impact" panose="020B0806030902050204" pitchFamily="34" charset="0"/>
                <a:cs typeface="Arial" panose="020B0604020202020204" pitchFamily="34" charset="0"/>
              </a:rPr>
              <a:t>01</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mtClean="0"/>
              <a:t>Use </a:t>
            </a:r>
            <a:r>
              <a:rPr lang="en-US" altLang="zh-CN" sz="100" smtClean="0"/>
              <a:t> </a:t>
            </a:r>
            <a:r>
              <a:rPr lang="en-US" altLang="zh-CN" smtClean="0"/>
              <a:t>"</a:t>
            </a:r>
            <a:r>
              <a:rPr lang="en-US" altLang="zh-CN" smtClean="0"/>
              <a:t>Title Only" Layout</a:t>
            </a:r>
            <a:endParaRPr lang="zh-CN" altLang="en-US"/>
          </a:p>
        </p:txBody>
      </p:sp>
      <p:sp>
        <p:nvSpPr>
          <p:cNvPr id="3" name="页脚占位符 2"/>
          <p:cNvSpPr>
            <a:spLocks noGrp="1"/>
          </p:cNvSpPr>
          <p:nvPr>
            <p:ph type="ftr" sz="quarter" idx="11"/>
          </p:nvPr>
        </p:nvSpPr>
        <p:spPr/>
        <p:txBody>
          <a:bodyPr/>
          <a:lstStyle/>
          <a:p>
            <a:r>
              <a:rPr lang="zh-CN" altLang="en-US" smtClean="0"/>
              <a:t>请在</a:t>
            </a:r>
            <a:r>
              <a:rPr lang="zh-CN" altLang="en-US" smtClean="0"/>
              <a:t>插入</a:t>
            </a:r>
            <a:r>
              <a:rPr lang="zh-CN" altLang="en-US" sz="100" smtClean="0"/>
              <a:t> </a:t>
            </a:r>
            <a:r>
              <a:rPr lang="zh-CN" altLang="en-US" smtClean="0"/>
              <a:t>菜</a:t>
            </a:r>
            <a:r>
              <a:rPr lang="zh-CN" altLang="en-US" smtClean="0"/>
              <a:t>单</a:t>
            </a:r>
            <a:r>
              <a:rPr lang="en-US" altLang="zh-CN" smtClean="0"/>
              <a:t>—</a:t>
            </a:r>
            <a:r>
              <a:rPr lang="zh-CN" altLang="en-US" smtClean="0"/>
              <a:t>页眉和页脚中修改此文本</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a:t>
            </a:fld>
            <a:endParaRPr lang="zh-CN" altLang="en-US"/>
          </a:p>
        </p:txBody>
      </p:sp>
    </p:spTree>
    <p:custDataLst>
      <p:tags r:id="rId1"/>
    </p:custDataLst>
    <p:extLst>
      <p:ext uri="{BB962C8B-B14F-4D97-AF65-F5344CB8AC3E}">
        <p14:creationId xmlns:p14="http://schemas.microsoft.com/office/powerpoint/2010/main" val="12828142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smtClean="0"/>
              <a:t>Sect</a:t>
            </a:r>
            <a:r>
              <a:rPr lang="en-US" altLang="zh-CN" sz="100" smtClean="0"/>
              <a:t> </a:t>
            </a:r>
            <a:r>
              <a:rPr lang="en-US" altLang="zh-CN" smtClean="0"/>
              <a:t>ion </a:t>
            </a:r>
            <a:r>
              <a:rPr lang="en-US" altLang="zh-CN"/>
              <a:t>Header Here</a:t>
            </a:r>
            <a:endParaRPr lang="zh-CN" altLang="en-US" dirty="0"/>
          </a:p>
        </p:txBody>
      </p:sp>
      <p:sp>
        <p:nvSpPr>
          <p:cNvPr id="6" name="文本占位符 5"/>
          <p:cNvSpPr>
            <a:spLocks noGrp="1"/>
          </p:cNvSpPr>
          <p:nvPr>
            <p:ph type="body" idx="1"/>
          </p:nvPr>
        </p:nvSpPr>
        <p:spPr/>
        <p:txBody>
          <a:bodyPr/>
          <a:lstStyle/>
          <a:p>
            <a:pPr lvl="0"/>
            <a:r>
              <a:rPr lang="en-US" altLang="zh-CN"/>
              <a:t>Supporting </a:t>
            </a:r>
            <a:r>
              <a:rPr lang="en-US" altLang="zh-CN" smtClean="0"/>
              <a:t>tex</a:t>
            </a:r>
            <a:r>
              <a:rPr lang="en-US" altLang="zh-CN" sz="100" smtClean="0"/>
              <a:t> </a:t>
            </a:r>
            <a:r>
              <a:rPr lang="en-US" altLang="zh-CN" smtClean="0"/>
              <a:t>t </a:t>
            </a:r>
            <a:r>
              <a:rPr lang="en-US" altLang="zh-CN" dirty="0"/>
              <a:t>here.</a:t>
            </a:r>
          </a:p>
          <a:p>
            <a:pPr lvl="0"/>
            <a:r>
              <a:rPr lang="en-US" altLang="zh-CN" dirty="0"/>
              <a:t>When you copy &amp; paste, choose "keep text only" option.</a:t>
            </a:r>
            <a:endParaRPr lang="zh-CN" altLang="en-US" dirty="0"/>
          </a:p>
        </p:txBody>
      </p:sp>
      <p:sp>
        <p:nvSpPr>
          <p:cNvPr id="9" name="文本框 8">
            <a:extLst>
              <a:ext uri="{FF2B5EF4-FFF2-40B4-BE49-F238E27FC236}">
                <a16:creationId xmlns:a16="http://schemas.microsoft.com/office/drawing/2014/main" xmlns:p14="http://schemas.microsoft.com/office/powerpoint/2010/main" xmlns="" id="{04F69230-F3A6-4586-9371-A858F4763E9F}"/>
              </a:ext>
            </a:extLst>
          </p:cNvPr>
          <p:cNvSpPr txBox="1"/>
          <p:nvPr/>
        </p:nvSpPr>
        <p:spPr>
          <a:xfrm>
            <a:off x="2636995" y="2984045"/>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bg1"/>
                </a:solidFill>
                <a:latin typeface="Impact" panose="020B0806030902050204" pitchFamily="34" charset="0"/>
                <a:cs typeface="Arial" panose="020B0604020202020204" pitchFamily="34" charset="0"/>
              </a:rPr>
              <a:t>/</a:t>
            </a:r>
            <a:r>
              <a:rPr lang="en-US" altLang="zh-CN" sz="100" spc="100" dirty="0" smtClean="0">
                <a:solidFill>
                  <a:schemeClr val="bg1"/>
                </a:solidFill>
                <a:latin typeface="Impact" panose="020B0806030902050204" pitchFamily="34" charset="0"/>
                <a:cs typeface="Arial" panose="020B0604020202020204" pitchFamily="34" charset="0"/>
              </a:rPr>
              <a:t> </a:t>
            </a:r>
            <a:r>
              <a:rPr lang="en-US" altLang="zh-CN" spc="100" dirty="0" smtClean="0">
                <a:solidFill>
                  <a:schemeClr val="bg1"/>
                </a:solidFill>
                <a:latin typeface="Impact" panose="020B0806030902050204" pitchFamily="34" charset="0"/>
                <a:cs typeface="Arial" panose="020B0604020202020204" pitchFamily="34" charset="0"/>
              </a:rPr>
              <a:t>02</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41493603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mtClean="0"/>
              <a:t>Use </a:t>
            </a:r>
            <a:r>
              <a:rPr lang="en-US" altLang="zh-CN" sz="100" smtClean="0"/>
              <a:t> </a:t>
            </a:r>
            <a:r>
              <a:rPr lang="en-US" altLang="zh-CN" smtClean="0"/>
              <a:t>"</a:t>
            </a:r>
            <a:r>
              <a:rPr lang="en-US" altLang="zh-CN" smtClean="0"/>
              <a:t>Title Only" Layout</a:t>
            </a:r>
            <a:endParaRPr lang="zh-CN" altLang="en-US"/>
          </a:p>
        </p:txBody>
      </p:sp>
      <p:sp>
        <p:nvSpPr>
          <p:cNvPr id="3" name="页脚占位符 2"/>
          <p:cNvSpPr>
            <a:spLocks noGrp="1"/>
          </p:cNvSpPr>
          <p:nvPr>
            <p:ph type="ftr" sz="quarter" idx="11"/>
          </p:nvPr>
        </p:nvSpPr>
        <p:spPr/>
        <p:txBody>
          <a:bodyPr/>
          <a:lstStyle/>
          <a:p>
            <a:r>
              <a:rPr lang="zh-CN" altLang="en-US" smtClean="0"/>
              <a:t>请在</a:t>
            </a:r>
            <a:r>
              <a:rPr lang="zh-CN" altLang="en-US" smtClean="0"/>
              <a:t>插入</a:t>
            </a:r>
            <a:r>
              <a:rPr lang="zh-CN" altLang="en-US" sz="100" smtClean="0"/>
              <a:t> </a:t>
            </a:r>
            <a:r>
              <a:rPr lang="zh-CN" altLang="en-US" smtClean="0"/>
              <a:t>菜</a:t>
            </a:r>
            <a:r>
              <a:rPr lang="zh-CN" altLang="en-US" smtClean="0"/>
              <a:t>单</a:t>
            </a:r>
            <a:r>
              <a:rPr lang="en-US" altLang="zh-CN" smtClean="0"/>
              <a:t>—</a:t>
            </a:r>
            <a:r>
              <a:rPr lang="zh-CN" altLang="en-US" smtClean="0"/>
              <a:t>页眉和页脚中修改此文本</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a:t>
            </a:fld>
            <a:endParaRPr lang="zh-CN" altLang="en-US"/>
          </a:p>
        </p:txBody>
      </p:sp>
    </p:spTree>
    <p:custDataLst>
      <p:tags r:id="rId1"/>
    </p:custDataLst>
    <p:extLst>
      <p:ext uri="{BB962C8B-B14F-4D97-AF65-F5344CB8AC3E}">
        <p14:creationId xmlns:p14="http://schemas.microsoft.com/office/powerpoint/2010/main" val="7921140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smtClean="0"/>
              <a:t>Sect</a:t>
            </a:r>
            <a:r>
              <a:rPr lang="en-US" altLang="zh-CN" sz="100" smtClean="0"/>
              <a:t> </a:t>
            </a:r>
            <a:r>
              <a:rPr lang="en-US" altLang="zh-CN" smtClean="0"/>
              <a:t>ion </a:t>
            </a:r>
            <a:r>
              <a:rPr lang="en-US" altLang="zh-CN"/>
              <a:t>Header Here</a:t>
            </a:r>
            <a:endParaRPr lang="zh-CN" altLang="en-US" dirty="0"/>
          </a:p>
        </p:txBody>
      </p:sp>
      <p:sp>
        <p:nvSpPr>
          <p:cNvPr id="6" name="文本占位符 5"/>
          <p:cNvSpPr>
            <a:spLocks noGrp="1"/>
          </p:cNvSpPr>
          <p:nvPr>
            <p:ph type="body" idx="1"/>
          </p:nvPr>
        </p:nvSpPr>
        <p:spPr/>
        <p:txBody>
          <a:bodyPr/>
          <a:lstStyle/>
          <a:p>
            <a:pPr lvl="0"/>
            <a:r>
              <a:rPr lang="en-US" altLang="zh-CN"/>
              <a:t>Supporting </a:t>
            </a:r>
            <a:r>
              <a:rPr lang="en-US" altLang="zh-CN" smtClean="0"/>
              <a:t>tex</a:t>
            </a:r>
            <a:r>
              <a:rPr lang="en-US" altLang="zh-CN" sz="100" smtClean="0"/>
              <a:t> </a:t>
            </a:r>
            <a:r>
              <a:rPr lang="en-US" altLang="zh-CN" smtClean="0"/>
              <a:t>t </a:t>
            </a:r>
            <a:r>
              <a:rPr lang="en-US" altLang="zh-CN" dirty="0"/>
              <a:t>here.</a:t>
            </a:r>
          </a:p>
          <a:p>
            <a:pPr lvl="0"/>
            <a:r>
              <a:rPr lang="en-US" altLang="zh-CN" dirty="0"/>
              <a:t>When you copy &amp; paste, choose "keep text only" option.</a:t>
            </a:r>
            <a:endParaRPr lang="zh-CN" altLang="en-US" dirty="0"/>
          </a:p>
        </p:txBody>
      </p:sp>
      <p:sp>
        <p:nvSpPr>
          <p:cNvPr id="9" name="文本框 8">
            <a:extLst>
              <a:ext uri="{FF2B5EF4-FFF2-40B4-BE49-F238E27FC236}">
                <a16:creationId xmlns:a16="http://schemas.microsoft.com/office/drawing/2014/main" xmlns:p14="http://schemas.microsoft.com/office/powerpoint/2010/main" xmlns="" id="{04F69230-F3A6-4586-9371-A858F4763E9F}"/>
              </a:ext>
            </a:extLst>
          </p:cNvPr>
          <p:cNvSpPr txBox="1"/>
          <p:nvPr/>
        </p:nvSpPr>
        <p:spPr>
          <a:xfrm>
            <a:off x="2636995" y="2984045"/>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bg1"/>
                </a:solidFill>
                <a:latin typeface="Impact" panose="020B0806030902050204" pitchFamily="34" charset="0"/>
                <a:cs typeface="Arial" panose="020B0604020202020204" pitchFamily="34" charset="0"/>
              </a:rPr>
              <a:t>/</a:t>
            </a:r>
            <a:r>
              <a:rPr lang="en-US" altLang="zh-CN" sz="100" spc="100" dirty="0" smtClean="0">
                <a:solidFill>
                  <a:schemeClr val="bg1"/>
                </a:solidFill>
                <a:latin typeface="Impact" panose="020B0806030902050204" pitchFamily="34" charset="0"/>
                <a:cs typeface="Arial" panose="020B0604020202020204" pitchFamily="34" charset="0"/>
              </a:rPr>
              <a:t> </a:t>
            </a:r>
            <a:r>
              <a:rPr lang="en-US" altLang="zh-CN" spc="100" dirty="0" smtClean="0">
                <a:solidFill>
                  <a:schemeClr val="bg1"/>
                </a:solidFill>
                <a:latin typeface="Impact" panose="020B0806030902050204" pitchFamily="34" charset="0"/>
                <a:cs typeface="Arial" panose="020B0604020202020204" pitchFamily="34" charset="0"/>
              </a:rPr>
              <a:t>03</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38363935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mtClean="0"/>
              <a:t>Use </a:t>
            </a:r>
            <a:r>
              <a:rPr lang="en-US" altLang="zh-CN" sz="100" smtClean="0"/>
              <a:t> </a:t>
            </a:r>
            <a:r>
              <a:rPr lang="en-US" altLang="zh-CN" smtClean="0"/>
              <a:t>"</a:t>
            </a:r>
            <a:r>
              <a:rPr lang="en-US" altLang="zh-CN" smtClean="0"/>
              <a:t>Title Only" Layout</a:t>
            </a:r>
            <a:endParaRPr lang="zh-CN" altLang="en-US"/>
          </a:p>
        </p:txBody>
      </p:sp>
      <p:sp>
        <p:nvSpPr>
          <p:cNvPr id="3" name="页脚占位符 2"/>
          <p:cNvSpPr>
            <a:spLocks noGrp="1"/>
          </p:cNvSpPr>
          <p:nvPr>
            <p:ph type="ftr" sz="quarter" idx="11"/>
          </p:nvPr>
        </p:nvSpPr>
        <p:spPr/>
        <p:txBody>
          <a:bodyPr/>
          <a:lstStyle/>
          <a:p>
            <a:r>
              <a:rPr lang="zh-CN" altLang="en-US" smtClean="0"/>
              <a:t>请在</a:t>
            </a:r>
            <a:r>
              <a:rPr lang="zh-CN" altLang="en-US" smtClean="0"/>
              <a:t>插入</a:t>
            </a:r>
            <a:r>
              <a:rPr lang="zh-CN" altLang="en-US" sz="100" smtClean="0"/>
              <a:t> </a:t>
            </a:r>
            <a:r>
              <a:rPr lang="zh-CN" altLang="en-US" smtClean="0"/>
              <a:t>菜</a:t>
            </a:r>
            <a:r>
              <a:rPr lang="zh-CN" altLang="en-US" smtClean="0"/>
              <a:t>单</a:t>
            </a:r>
            <a:r>
              <a:rPr lang="en-US" altLang="zh-CN" smtClean="0"/>
              <a:t>—</a:t>
            </a:r>
            <a:r>
              <a:rPr lang="zh-CN" altLang="en-US" smtClean="0"/>
              <a:t>页眉和页脚中修改此文本</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a:t>
            </a:fld>
            <a:endParaRPr lang="zh-CN" altLang="en-US"/>
          </a:p>
        </p:txBody>
      </p:sp>
    </p:spTree>
    <p:custDataLst>
      <p:tags r:id="rId1"/>
    </p:custDataLst>
    <p:extLst>
      <p:ext uri="{BB962C8B-B14F-4D97-AF65-F5344CB8AC3E}">
        <p14:creationId xmlns:p14="http://schemas.microsoft.com/office/powerpoint/2010/main" val="16127709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smtClean="0"/>
              <a:t>Sect</a:t>
            </a:r>
            <a:r>
              <a:rPr lang="en-US" altLang="zh-CN" sz="100" smtClean="0"/>
              <a:t> </a:t>
            </a:r>
            <a:r>
              <a:rPr lang="en-US" altLang="zh-CN" smtClean="0"/>
              <a:t>ion </a:t>
            </a:r>
            <a:r>
              <a:rPr lang="en-US" altLang="zh-CN"/>
              <a:t>Header Here</a:t>
            </a:r>
            <a:endParaRPr lang="zh-CN" altLang="en-US" dirty="0"/>
          </a:p>
        </p:txBody>
      </p:sp>
      <p:sp>
        <p:nvSpPr>
          <p:cNvPr id="6" name="文本占位符 5"/>
          <p:cNvSpPr>
            <a:spLocks noGrp="1"/>
          </p:cNvSpPr>
          <p:nvPr>
            <p:ph type="body" idx="1"/>
          </p:nvPr>
        </p:nvSpPr>
        <p:spPr/>
        <p:txBody>
          <a:bodyPr/>
          <a:lstStyle/>
          <a:p>
            <a:pPr lvl="0"/>
            <a:r>
              <a:rPr lang="en-US" altLang="zh-CN"/>
              <a:t>Supporting </a:t>
            </a:r>
            <a:r>
              <a:rPr lang="en-US" altLang="zh-CN" smtClean="0"/>
              <a:t>tex</a:t>
            </a:r>
            <a:r>
              <a:rPr lang="en-US" altLang="zh-CN" sz="100" smtClean="0"/>
              <a:t> </a:t>
            </a:r>
            <a:r>
              <a:rPr lang="en-US" altLang="zh-CN" smtClean="0"/>
              <a:t>t </a:t>
            </a:r>
            <a:r>
              <a:rPr lang="en-US" altLang="zh-CN" dirty="0"/>
              <a:t>here.</a:t>
            </a:r>
          </a:p>
          <a:p>
            <a:pPr lvl="0"/>
            <a:r>
              <a:rPr lang="en-US" altLang="zh-CN" dirty="0"/>
              <a:t>When you copy &amp; paste, choose "keep text only" option.</a:t>
            </a:r>
            <a:endParaRPr lang="zh-CN" altLang="en-US" dirty="0"/>
          </a:p>
        </p:txBody>
      </p:sp>
      <p:sp>
        <p:nvSpPr>
          <p:cNvPr id="9" name="文本框 8">
            <a:extLst>
              <a:ext uri="{FF2B5EF4-FFF2-40B4-BE49-F238E27FC236}">
                <a16:creationId xmlns:a16="http://schemas.microsoft.com/office/drawing/2014/main" xmlns:p14="http://schemas.microsoft.com/office/powerpoint/2010/main" xmlns="" id="{04F69230-F3A6-4586-9371-A858F4763E9F}"/>
              </a:ext>
            </a:extLst>
          </p:cNvPr>
          <p:cNvSpPr txBox="1"/>
          <p:nvPr/>
        </p:nvSpPr>
        <p:spPr>
          <a:xfrm>
            <a:off x="2636995" y="2984045"/>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bg1"/>
                </a:solidFill>
                <a:latin typeface="Impact" panose="020B0806030902050204" pitchFamily="34" charset="0"/>
                <a:cs typeface="Arial" panose="020B0604020202020204" pitchFamily="34" charset="0"/>
              </a:rPr>
              <a:t>/</a:t>
            </a:r>
            <a:r>
              <a:rPr lang="en-US" altLang="zh-CN" sz="100" spc="100" dirty="0" smtClean="0">
                <a:solidFill>
                  <a:schemeClr val="bg1"/>
                </a:solidFill>
                <a:latin typeface="Impact" panose="020B0806030902050204" pitchFamily="34" charset="0"/>
                <a:cs typeface="Arial" panose="020B0604020202020204" pitchFamily="34" charset="0"/>
              </a:rPr>
              <a:t> </a:t>
            </a:r>
            <a:r>
              <a:rPr lang="en-US" altLang="zh-CN" spc="100" dirty="0" smtClean="0">
                <a:solidFill>
                  <a:schemeClr val="bg1"/>
                </a:solidFill>
                <a:latin typeface="Impact" panose="020B0806030902050204" pitchFamily="34" charset="0"/>
                <a:cs typeface="Arial" panose="020B0604020202020204" pitchFamily="34" charset="0"/>
              </a:rPr>
              <a:t>04</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6948342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THEME" val="#271880"/>
</p:tagLst>
</file>

<file path=ppt/tags/tag1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CE5D47"/>
    </a:accent1>
    <a:accent2>
      <a:srgbClr val="B13D24"/>
    </a:accent2>
    <a:accent3>
      <a:srgbClr val="742B1C"/>
    </a:accent3>
    <a:accent4>
      <a:srgbClr val="CDD9E7"/>
    </a:accent4>
    <a:accent5>
      <a:srgbClr val="4C150C"/>
    </a:accent5>
    <a:accent6>
      <a:srgbClr val="768394"/>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7</TotalTime>
  <Words>993</Words>
  <Application>Microsoft Office PowerPoint</Application>
  <PresentationFormat>自訂</PresentationFormat>
  <Paragraphs>134</Paragraphs>
  <Slides>18</Slides>
  <Notes>0</Notes>
  <HiddenSlides>7</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18</vt:i4>
      </vt:variant>
    </vt:vector>
  </HeadingPairs>
  <TitlesOfParts>
    <vt:vector size="20" baseType="lpstr">
      <vt:lpstr>主题5</vt:lpstr>
      <vt:lpstr>think-cell Slide</vt:lpstr>
      <vt:lpstr>深度學習 類神經網路介紹</vt:lpstr>
      <vt:lpstr>PowerPoint 簡報</vt:lpstr>
      <vt:lpstr>Sect ion Header Here</vt:lpstr>
      <vt:lpstr>Use  "Title Only" Layout</vt:lpstr>
      <vt:lpstr>Sect ion Header Here</vt:lpstr>
      <vt:lpstr>Use  "Title Only" Layout</vt:lpstr>
      <vt:lpstr>Sect ion Header Here</vt:lpstr>
      <vt:lpstr>Use  "Title Only" Layout</vt:lpstr>
      <vt:lpstr>Sect ion Header Here</vt:lpstr>
      <vt:lpstr>Use  "Title Only" Layout</vt:lpstr>
      <vt:lpstr>Thank s And Your Slogan Here</vt:lpstr>
      <vt:lpstr>PowerPoint 簡報</vt:lpstr>
      <vt:lpstr>PowerPoint 簡報</vt:lpstr>
      <vt:lpstr>PowerPoint 簡報</vt:lpstr>
      <vt:lpstr>PowerPoint 簡報</vt:lpstr>
      <vt:lpstr>PowerPoint 簡報</vt:lpstr>
      <vt:lpstr>PowerPoint 簡報</vt:lpstr>
      <vt:lpstr>PowerPoint 簡報</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3</cp:revision>
  <cp:lastPrinted>2019-04-27T16:00:00Z</cp:lastPrinted>
  <dcterms:created xsi:type="dcterms:W3CDTF">2019-04-27T16:00:00Z</dcterms:created>
  <dcterms:modified xsi:type="dcterms:W3CDTF">2020-10-31T01:0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